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02" r:id="rId5"/>
  </p:sldMasterIdLst>
  <p:notesMasterIdLst>
    <p:notesMasterId r:id="rId26"/>
  </p:notesMasterIdLst>
  <p:handoutMasterIdLst>
    <p:handoutMasterId r:id="rId27"/>
  </p:handoutMasterIdLst>
  <p:sldIdLst>
    <p:sldId id="308" r:id="rId6"/>
    <p:sldId id="378" r:id="rId7"/>
    <p:sldId id="376" r:id="rId8"/>
    <p:sldId id="379" r:id="rId9"/>
    <p:sldId id="384" r:id="rId10"/>
    <p:sldId id="382" r:id="rId11"/>
    <p:sldId id="263" r:id="rId12"/>
    <p:sldId id="264" r:id="rId13"/>
    <p:sldId id="385" r:id="rId14"/>
    <p:sldId id="387" r:id="rId15"/>
    <p:sldId id="388" r:id="rId16"/>
    <p:sldId id="389" r:id="rId17"/>
    <p:sldId id="390" r:id="rId18"/>
    <p:sldId id="275" r:id="rId19"/>
    <p:sldId id="265" r:id="rId20"/>
    <p:sldId id="266" r:id="rId21"/>
    <p:sldId id="268" r:id="rId22"/>
    <p:sldId id="272" r:id="rId23"/>
    <p:sldId id="386" r:id="rId24"/>
    <p:sldId id="383" r:id="rId25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orient="horz" pos="2887">
          <p15:clr>
            <a:srgbClr val="A4A3A4"/>
          </p15:clr>
        </p15:guide>
        <p15:guide id="3" orient="horz" pos="479">
          <p15:clr>
            <a:srgbClr val="A4A3A4"/>
          </p15:clr>
        </p15:guide>
        <p15:guide id="4" orient="horz" pos="238">
          <p15:clr>
            <a:srgbClr val="A4A3A4"/>
          </p15:clr>
        </p15:guide>
        <p15:guide id="5" orient="horz" pos="1618">
          <p15:clr>
            <a:srgbClr val="A4A3A4"/>
          </p15:clr>
        </p15:guide>
        <p15:guide id="6" orient="horz" pos="564">
          <p15:clr>
            <a:srgbClr val="A4A3A4"/>
          </p15:clr>
        </p15:guide>
        <p15:guide id="7" pos="2880">
          <p15:clr>
            <a:srgbClr val="A4A3A4"/>
          </p15:clr>
        </p15:guide>
        <p15:guide id="8" pos="288">
          <p15:clr>
            <a:srgbClr val="A4A3A4"/>
          </p15:clr>
        </p15:guide>
        <p15:guide id="9" pos="5302">
          <p15:clr>
            <a:srgbClr val="A4A3A4"/>
          </p15:clr>
        </p15:guide>
        <p15:guide id="10" pos="5472">
          <p15:clr>
            <a:srgbClr val="A4A3A4"/>
          </p15:clr>
        </p15:guide>
        <p15:guide id="11" pos="558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phanie Rakowski" initials="SR" lastIdx="6" clrIdx="0">
    <p:extLst>
      <p:ext uri="{19B8F6BF-5375-455C-9EA6-DF929625EA0E}">
        <p15:presenceInfo xmlns:p15="http://schemas.microsoft.com/office/powerpoint/2012/main" userId="1bc2e77ba7e477f9" providerId="Windows Live"/>
      </p:ext>
    </p:extLst>
  </p:cmAuthor>
  <p:cmAuthor id="2" name="Amy Smith" initials="AS" lastIdx="1" clrIdx="1">
    <p:extLst>
      <p:ext uri="{19B8F6BF-5375-455C-9EA6-DF929625EA0E}">
        <p15:presenceInfo xmlns:p15="http://schemas.microsoft.com/office/powerpoint/2012/main" userId="S::amsmith@sae.org::c21c1d8e-14f9-456a-a4af-1465907b0da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A9B9D"/>
    <a:srgbClr val="01A0E9"/>
    <a:srgbClr val="005195"/>
    <a:srgbClr val="2EB135"/>
    <a:srgbClr val="DC291E"/>
    <a:srgbClr val="EA7125"/>
    <a:srgbClr val="00773D"/>
    <a:srgbClr val="CACAC8"/>
    <a:srgbClr val="FFB201"/>
    <a:srgbClr val="004C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009" autoAdjust="0"/>
    <p:restoredTop sz="86486" autoAdjust="0"/>
  </p:normalViewPr>
  <p:slideViewPr>
    <p:cSldViewPr>
      <p:cViewPr varScale="1">
        <p:scale>
          <a:sx n="76" d="100"/>
          <a:sy n="76" d="100"/>
        </p:scale>
        <p:origin x="1292" y="48"/>
      </p:cViewPr>
      <p:guideLst>
        <p:guide orient="horz"/>
        <p:guide orient="horz" pos="2887"/>
        <p:guide orient="horz" pos="479"/>
        <p:guide orient="horz" pos="238"/>
        <p:guide orient="horz" pos="1618"/>
        <p:guide orient="horz" pos="564"/>
        <p:guide pos="2880"/>
        <p:guide pos="288"/>
        <p:guide pos="5302"/>
        <p:guide pos="5472"/>
        <p:guide pos="5588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E17AD29-7D2C-41F0-AE2C-39B06A91BF06}" type="doc">
      <dgm:prSet loTypeId="urn:microsoft.com/office/officeart/2005/8/layout/gear1" loCatId="process" qsTypeId="urn:microsoft.com/office/officeart/2005/8/quickstyle/simple5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1D70D3B-6345-4E10-B6A4-3C28BBBF235D}">
      <dgm:prSet phldrT="[Text]"/>
      <dgm:spPr>
        <a:solidFill>
          <a:srgbClr val="DC291E"/>
        </a:solidFill>
        <a:ln>
          <a:solidFill>
            <a:srgbClr val="DC291E"/>
          </a:solidFill>
        </a:ln>
      </dgm:spPr>
      <dgm:t>
        <a:bodyPr/>
        <a:lstStyle/>
        <a:p>
          <a:r>
            <a:rPr lang="en-US" dirty="0"/>
            <a:t>Primary Series (K-3)</a:t>
          </a:r>
        </a:p>
      </dgm:t>
    </dgm:pt>
    <dgm:pt modelId="{7015E4CC-4E47-4FAE-9751-7B4B75559EC5}" type="parTrans" cxnId="{1CB72E12-686E-4032-AA7B-EB4D247D1C9A}">
      <dgm:prSet/>
      <dgm:spPr/>
      <dgm:t>
        <a:bodyPr/>
        <a:lstStyle/>
        <a:p>
          <a:endParaRPr lang="en-US"/>
        </a:p>
      </dgm:t>
    </dgm:pt>
    <dgm:pt modelId="{F3539571-792A-4296-8E56-0066EEF692DA}" type="sibTrans" cxnId="{1CB72E12-686E-4032-AA7B-EB4D247D1C9A}">
      <dgm:prSet/>
      <dgm:spPr>
        <a:solidFill>
          <a:srgbClr val="DC291E"/>
        </a:solidFill>
        <a:ln>
          <a:solidFill>
            <a:srgbClr val="FF0000"/>
          </a:solidFill>
        </a:ln>
      </dgm:spPr>
      <dgm:t>
        <a:bodyPr/>
        <a:lstStyle/>
        <a:p>
          <a:endParaRPr lang="en-US"/>
        </a:p>
      </dgm:t>
    </dgm:pt>
    <dgm:pt modelId="{47C793DB-9C7F-4EF7-AA87-2FEEEFEF48C4}">
      <dgm:prSet phldrT="[Text]"/>
      <dgm:spPr>
        <a:ln>
          <a:solidFill>
            <a:srgbClr val="DC291E"/>
          </a:solidFill>
        </a:ln>
      </dgm:spPr>
      <dgm:t>
        <a:bodyPr/>
        <a:lstStyle/>
        <a:p>
          <a:r>
            <a:rPr lang="en-US" dirty="0"/>
            <a:t>Rolling Things</a:t>
          </a:r>
        </a:p>
      </dgm:t>
    </dgm:pt>
    <dgm:pt modelId="{B8F7C413-42ED-406E-A3CA-937E090A9F26}" type="parTrans" cxnId="{86B1D385-527D-4CE1-AE29-219CE74E434B}">
      <dgm:prSet/>
      <dgm:spPr/>
      <dgm:t>
        <a:bodyPr/>
        <a:lstStyle/>
        <a:p>
          <a:endParaRPr lang="en-US"/>
        </a:p>
      </dgm:t>
    </dgm:pt>
    <dgm:pt modelId="{F1685181-6882-497E-8885-423F9444C243}" type="sibTrans" cxnId="{86B1D385-527D-4CE1-AE29-219CE74E434B}">
      <dgm:prSet/>
      <dgm:spPr/>
      <dgm:t>
        <a:bodyPr/>
        <a:lstStyle/>
        <a:p>
          <a:endParaRPr lang="en-US"/>
        </a:p>
      </dgm:t>
    </dgm:pt>
    <dgm:pt modelId="{DC9C2AF6-A689-45D6-92AC-8C72F10F32DC}">
      <dgm:prSet phldrT="[Text]"/>
      <dgm:spPr>
        <a:solidFill>
          <a:srgbClr val="2EB135"/>
        </a:solidFill>
      </dgm:spPr>
      <dgm:t>
        <a:bodyPr/>
        <a:lstStyle/>
        <a:p>
          <a:r>
            <a:rPr lang="en-US" dirty="0"/>
            <a:t>Elementary Series (4 – 6)</a:t>
          </a:r>
        </a:p>
      </dgm:t>
    </dgm:pt>
    <dgm:pt modelId="{FC504865-D434-4124-B408-732B3757FDEF}" type="parTrans" cxnId="{42FFB821-7E66-4FC6-A93A-BD7F198A8B7E}">
      <dgm:prSet/>
      <dgm:spPr/>
      <dgm:t>
        <a:bodyPr/>
        <a:lstStyle/>
        <a:p>
          <a:endParaRPr lang="en-US"/>
        </a:p>
      </dgm:t>
    </dgm:pt>
    <dgm:pt modelId="{31D21C6E-8FB4-4654-9AA1-5924B131732B}" type="sibTrans" cxnId="{42FFB821-7E66-4FC6-A93A-BD7F198A8B7E}">
      <dgm:prSet/>
      <dgm:spPr>
        <a:solidFill>
          <a:srgbClr val="2EB135"/>
        </a:solidFill>
      </dgm:spPr>
      <dgm:t>
        <a:bodyPr/>
        <a:lstStyle/>
        <a:p>
          <a:endParaRPr lang="en-US"/>
        </a:p>
      </dgm:t>
    </dgm:pt>
    <dgm:pt modelId="{C1CD85A6-0FD1-4EB6-9BA3-986A7C11F72E}">
      <dgm:prSet phldrT="[Text]"/>
      <dgm:spPr>
        <a:ln>
          <a:solidFill>
            <a:srgbClr val="2EB135"/>
          </a:solidFill>
        </a:ln>
      </dgm:spPr>
      <dgm:t>
        <a:bodyPr/>
        <a:lstStyle/>
        <a:p>
          <a:r>
            <a:rPr lang="en-US" sz="800" dirty="0"/>
            <a:t>Skimmer</a:t>
          </a:r>
        </a:p>
      </dgm:t>
    </dgm:pt>
    <dgm:pt modelId="{F9C4F2BC-1E9B-4C62-AD3F-3461EA7D5CDC}" type="parTrans" cxnId="{98C3DFF7-A2DE-45AF-9C30-05804E84150A}">
      <dgm:prSet/>
      <dgm:spPr/>
      <dgm:t>
        <a:bodyPr/>
        <a:lstStyle/>
        <a:p>
          <a:endParaRPr lang="en-US"/>
        </a:p>
      </dgm:t>
    </dgm:pt>
    <dgm:pt modelId="{F89B1FB0-6C5A-4416-91D1-9E2B845574D3}" type="sibTrans" cxnId="{98C3DFF7-A2DE-45AF-9C30-05804E84150A}">
      <dgm:prSet/>
      <dgm:spPr/>
      <dgm:t>
        <a:bodyPr/>
        <a:lstStyle/>
        <a:p>
          <a:endParaRPr lang="en-US"/>
        </a:p>
      </dgm:t>
    </dgm:pt>
    <dgm:pt modelId="{E8878316-955D-44DD-A989-862F1A7E94B6}">
      <dgm:prSet phldrT="[Text]"/>
      <dgm:spPr>
        <a:solidFill>
          <a:srgbClr val="01A0E9"/>
        </a:solidFill>
      </dgm:spPr>
      <dgm:t>
        <a:bodyPr/>
        <a:lstStyle/>
        <a:p>
          <a:r>
            <a:rPr lang="en-US" dirty="0"/>
            <a:t>Middle School Series (6 – 8)</a:t>
          </a:r>
        </a:p>
      </dgm:t>
    </dgm:pt>
    <dgm:pt modelId="{FF300E1C-AF83-4AEC-9387-C66AB9C7ADB4}" type="parTrans" cxnId="{426E39FB-7D21-4932-991E-D6B436E0C516}">
      <dgm:prSet/>
      <dgm:spPr/>
      <dgm:t>
        <a:bodyPr/>
        <a:lstStyle/>
        <a:p>
          <a:endParaRPr lang="en-US"/>
        </a:p>
      </dgm:t>
    </dgm:pt>
    <dgm:pt modelId="{571AE309-B0CE-4855-9508-E3E30FD518C2}" type="sibTrans" cxnId="{426E39FB-7D21-4932-991E-D6B436E0C516}">
      <dgm:prSet/>
      <dgm:spPr>
        <a:solidFill>
          <a:srgbClr val="01A0E9"/>
        </a:solidFill>
      </dgm:spPr>
      <dgm:t>
        <a:bodyPr/>
        <a:lstStyle/>
        <a:p>
          <a:endParaRPr lang="en-US"/>
        </a:p>
      </dgm:t>
    </dgm:pt>
    <dgm:pt modelId="{053E4FF6-495E-4652-8DA4-C48C84EEAA75}">
      <dgm:prSet phldrT="[Text]"/>
      <dgm:spPr>
        <a:ln>
          <a:solidFill>
            <a:srgbClr val="01A0E9"/>
          </a:solidFill>
        </a:ln>
      </dgm:spPr>
      <dgm:t>
        <a:bodyPr/>
        <a:lstStyle/>
        <a:p>
          <a:r>
            <a:rPr lang="en-US" dirty="0"/>
            <a:t>Gravity Cruiser</a:t>
          </a:r>
        </a:p>
      </dgm:t>
    </dgm:pt>
    <dgm:pt modelId="{7FD81B04-2B03-49B2-96FA-92C57807984F}" type="parTrans" cxnId="{BC309B31-4A1D-4BFB-B5D5-29693E449975}">
      <dgm:prSet/>
      <dgm:spPr/>
      <dgm:t>
        <a:bodyPr/>
        <a:lstStyle/>
        <a:p>
          <a:endParaRPr lang="en-US"/>
        </a:p>
      </dgm:t>
    </dgm:pt>
    <dgm:pt modelId="{7A651A1E-C5EF-4531-9D11-18FD6CFDFCD9}" type="sibTrans" cxnId="{BC309B31-4A1D-4BFB-B5D5-29693E449975}">
      <dgm:prSet/>
      <dgm:spPr/>
      <dgm:t>
        <a:bodyPr/>
        <a:lstStyle/>
        <a:p>
          <a:endParaRPr lang="en-US"/>
        </a:p>
      </dgm:t>
    </dgm:pt>
    <dgm:pt modelId="{E3F3CC0E-2B6E-4F8E-A33E-430CF9133BBD}">
      <dgm:prSet phldrT="[Text]"/>
      <dgm:spPr>
        <a:ln>
          <a:solidFill>
            <a:srgbClr val="DC291E"/>
          </a:solidFill>
        </a:ln>
      </dgm:spPr>
      <dgm:t>
        <a:bodyPr/>
        <a:lstStyle/>
        <a:p>
          <a:r>
            <a:rPr lang="en-US" dirty="0"/>
            <a:t>Pinball Designers</a:t>
          </a:r>
        </a:p>
      </dgm:t>
    </dgm:pt>
    <dgm:pt modelId="{07A4945A-5CF8-4BC3-B970-9D08D85B1103}" type="parTrans" cxnId="{5BE7E9FD-8541-431C-82E5-4F17266B12C4}">
      <dgm:prSet/>
      <dgm:spPr/>
      <dgm:t>
        <a:bodyPr/>
        <a:lstStyle/>
        <a:p>
          <a:endParaRPr lang="en-US"/>
        </a:p>
      </dgm:t>
    </dgm:pt>
    <dgm:pt modelId="{7666B610-5A25-4869-8FF3-715CC16762B7}" type="sibTrans" cxnId="{5BE7E9FD-8541-431C-82E5-4F17266B12C4}">
      <dgm:prSet/>
      <dgm:spPr/>
      <dgm:t>
        <a:bodyPr/>
        <a:lstStyle/>
        <a:p>
          <a:endParaRPr lang="en-US"/>
        </a:p>
      </dgm:t>
    </dgm:pt>
    <dgm:pt modelId="{0967F13F-E0B9-462E-9966-221CF5FD1E12}">
      <dgm:prSet phldrT="[Text]"/>
      <dgm:spPr>
        <a:ln>
          <a:solidFill>
            <a:srgbClr val="DC291E"/>
          </a:solidFill>
        </a:ln>
      </dgm:spPr>
      <dgm:t>
        <a:bodyPr/>
        <a:lstStyle/>
        <a:p>
          <a:r>
            <a:rPr lang="en-US" dirty="0"/>
            <a:t>Engineering Inspired By Nature</a:t>
          </a:r>
        </a:p>
      </dgm:t>
    </dgm:pt>
    <dgm:pt modelId="{6A1C97AE-E4F1-4A4F-AB83-E32CB64AF3C3}" type="parTrans" cxnId="{4E501A94-851E-45D5-BA84-C19444C1744B}">
      <dgm:prSet/>
      <dgm:spPr/>
      <dgm:t>
        <a:bodyPr/>
        <a:lstStyle/>
        <a:p>
          <a:endParaRPr lang="en-US"/>
        </a:p>
      </dgm:t>
    </dgm:pt>
    <dgm:pt modelId="{01DBB549-26EA-485D-A771-FCAD2A1F5442}" type="sibTrans" cxnId="{4E501A94-851E-45D5-BA84-C19444C1744B}">
      <dgm:prSet/>
      <dgm:spPr/>
      <dgm:t>
        <a:bodyPr/>
        <a:lstStyle/>
        <a:p>
          <a:endParaRPr lang="en-US"/>
        </a:p>
      </dgm:t>
    </dgm:pt>
    <dgm:pt modelId="{58A4C1AE-A64D-4286-98E7-48A513612575}">
      <dgm:prSet phldrT="[Text]"/>
      <dgm:spPr>
        <a:ln>
          <a:solidFill>
            <a:srgbClr val="DC291E"/>
          </a:solidFill>
        </a:ln>
      </dgm:spPr>
      <dgm:t>
        <a:bodyPr/>
        <a:lstStyle/>
        <a:p>
          <a:r>
            <a:rPr lang="en-US" dirty="0"/>
            <a:t>Straw Rockets</a:t>
          </a:r>
        </a:p>
      </dgm:t>
    </dgm:pt>
    <dgm:pt modelId="{D8F220F6-2928-4B14-9939-BD7F430E7DC8}" type="parTrans" cxnId="{FFC85754-2036-436F-A7A4-9E0C921EE757}">
      <dgm:prSet/>
      <dgm:spPr/>
      <dgm:t>
        <a:bodyPr/>
        <a:lstStyle/>
        <a:p>
          <a:endParaRPr lang="en-US"/>
        </a:p>
      </dgm:t>
    </dgm:pt>
    <dgm:pt modelId="{B2893ED9-CB6A-4F58-BC93-50C5790DEB8F}" type="sibTrans" cxnId="{FFC85754-2036-436F-A7A4-9E0C921EE757}">
      <dgm:prSet/>
      <dgm:spPr/>
      <dgm:t>
        <a:bodyPr/>
        <a:lstStyle/>
        <a:p>
          <a:endParaRPr lang="en-US"/>
        </a:p>
      </dgm:t>
    </dgm:pt>
    <dgm:pt modelId="{FA6ADFA6-4A56-486D-9AE8-A44B144B9717}">
      <dgm:prSet phldrT="[Text]"/>
      <dgm:spPr>
        <a:ln>
          <a:solidFill>
            <a:srgbClr val="2EB135"/>
          </a:solidFill>
        </a:ln>
      </dgm:spPr>
      <dgm:t>
        <a:bodyPr/>
        <a:lstStyle/>
        <a:p>
          <a:r>
            <a:rPr lang="en-US" sz="800" dirty="0" err="1"/>
            <a:t>JetToy</a:t>
          </a:r>
          <a:endParaRPr lang="en-US" sz="800" dirty="0"/>
        </a:p>
      </dgm:t>
    </dgm:pt>
    <dgm:pt modelId="{7506B962-D2EF-423C-8A2A-4290C5F9C231}" type="parTrans" cxnId="{CC036597-7B1C-4BFB-842A-605BCAF77AEC}">
      <dgm:prSet/>
      <dgm:spPr/>
      <dgm:t>
        <a:bodyPr/>
        <a:lstStyle/>
        <a:p>
          <a:endParaRPr lang="en-US"/>
        </a:p>
      </dgm:t>
    </dgm:pt>
    <dgm:pt modelId="{FC5629D6-E5AB-41EA-B18E-BB4ECE81E1FA}" type="sibTrans" cxnId="{CC036597-7B1C-4BFB-842A-605BCAF77AEC}">
      <dgm:prSet/>
      <dgm:spPr/>
      <dgm:t>
        <a:bodyPr/>
        <a:lstStyle/>
        <a:p>
          <a:endParaRPr lang="en-US"/>
        </a:p>
      </dgm:t>
    </dgm:pt>
    <dgm:pt modelId="{DFD68BD5-2AFA-406E-81A5-C0BE25D215D9}">
      <dgm:prSet phldrT="[Text]"/>
      <dgm:spPr>
        <a:ln>
          <a:solidFill>
            <a:srgbClr val="2EB135"/>
          </a:solidFill>
        </a:ln>
      </dgm:spPr>
      <dgm:t>
        <a:bodyPr/>
        <a:lstStyle/>
        <a:p>
          <a:r>
            <a:rPr lang="en-US" sz="800" dirty="0"/>
            <a:t>Gravity Cruiser</a:t>
          </a:r>
        </a:p>
      </dgm:t>
    </dgm:pt>
    <dgm:pt modelId="{F7B0134A-C7AF-408E-9EAC-4A502472B206}" type="parTrans" cxnId="{7DF9ABD7-8BBA-40F4-B65B-FCE325CCD47B}">
      <dgm:prSet/>
      <dgm:spPr/>
      <dgm:t>
        <a:bodyPr/>
        <a:lstStyle/>
        <a:p>
          <a:endParaRPr lang="en-US"/>
        </a:p>
      </dgm:t>
    </dgm:pt>
    <dgm:pt modelId="{15846B89-17E2-46C8-B05A-A75E4763D9F6}" type="sibTrans" cxnId="{7DF9ABD7-8BBA-40F4-B65B-FCE325CCD47B}">
      <dgm:prSet/>
      <dgm:spPr/>
      <dgm:t>
        <a:bodyPr/>
        <a:lstStyle/>
        <a:p>
          <a:endParaRPr lang="en-US"/>
        </a:p>
      </dgm:t>
    </dgm:pt>
    <dgm:pt modelId="{2244A0BF-FB88-428A-B1C7-5F9B303C9679}">
      <dgm:prSet phldrT="[Text]"/>
      <dgm:spPr>
        <a:ln>
          <a:solidFill>
            <a:srgbClr val="01A0E9"/>
          </a:solidFill>
        </a:ln>
      </dgm:spPr>
      <dgm:t>
        <a:bodyPr/>
        <a:lstStyle/>
        <a:p>
          <a:r>
            <a:rPr lang="en-US" dirty="0"/>
            <a:t>Glider</a:t>
          </a:r>
        </a:p>
      </dgm:t>
    </dgm:pt>
    <dgm:pt modelId="{EF1377B0-0306-403E-AFF6-B1E79A7CDF5E}" type="parTrans" cxnId="{429D2025-2460-4E05-924F-E57919ECCBC3}">
      <dgm:prSet/>
      <dgm:spPr/>
      <dgm:t>
        <a:bodyPr/>
        <a:lstStyle/>
        <a:p>
          <a:endParaRPr lang="en-US"/>
        </a:p>
      </dgm:t>
    </dgm:pt>
    <dgm:pt modelId="{4CAA84CB-4931-4F36-AB46-C06C7CE7143D}" type="sibTrans" cxnId="{429D2025-2460-4E05-924F-E57919ECCBC3}">
      <dgm:prSet/>
      <dgm:spPr/>
      <dgm:t>
        <a:bodyPr/>
        <a:lstStyle/>
        <a:p>
          <a:endParaRPr lang="en-US"/>
        </a:p>
      </dgm:t>
    </dgm:pt>
    <dgm:pt modelId="{91C46F3E-C909-4A0A-93BA-6A418B5DE6AF}">
      <dgm:prSet phldrT="[Text]"/>
      <dgm:spPr>
        <a:ln>
          <a:solidFill>
            <a:srgbClr val="01A0E9"/>
          </a:solidFill>
        </a:ln>
      </dgm:spPr>
      <dgm:t>
        <a:bodyPr/>
        <a:lstStyle/>
        <a:p>
          <a:r>
            <a:rPr lang="en-US" dirty="0"/>
            <a:t>Motorized Toy Car</a:t>
          </a:r>
        </a:p>
      </dgm:t>
    </dgm:pt>
    <dgm:pt modelId="{89D60B85-66C3-4492-AEC4-E546D6460CD8}" type="parTrans" cxnId="{EC75001B-4B3F-47DC-B61B-D1AADD516793}">
      <dgm:prSet/>
      <dgm:spPr/>
      <dgm:t>
        <a:bodyPr/>
        <a:lstStyle/>
        <a:p>
          <a:endParaRPr lang="en-US"/>
        </a:p>
      </dgm:t>
    </dgm:pt>
    <dgm:pt modelId="{7DFD2979-F3DF-484E-9CF1-A8E66932A03D}" type="sibTrans" cxnId="{EC75001B-4B3F-47DC-B61B-D1AADD516793}">
      <dgm:prSet/>
      <dgm:spPr/>
      <dgm:t>
        <a:bodyPr/>
        <a:lstStyle/>
        <a:p>
          <a:endParaRPr lang="en-US"/>
        </a:p>
      </dgm:t>
    </dgm:pt>
    <dgm:pt modelId="{828D09F7-7723-4ED3-ACD5-A7CB1EF74545}">
      <dgm:prSet phldrT="[Text]"/>
      <dgm:spPr>
        <a:ln>
          <a:solidFill>
            <a:srgbClr val="01A0E9"/>
          </a:solidFill>
        </a:ln>
      </dgm:spPr>
      <dgm:t>
        <a:bodyPr/>
        <a:lstStyle/>
        <a:p>
          <a:r>
            <a:rPr lang="en-US" dirty="0"/>
            <a:t>Fuel Cell</a:t>
          </a:r>
        </a:p>
      </dgm:t>
    </dgm:pt>
    <dgm:pt modelId="{00D6127C-4930-40FF-9D09-790C2FA72AB6}" type="parTrans" cxnId="{6A3FEE89-8FBB-49FE-9C4B-F94B0ED91FA3}">
      <dgm:prSet/>
      <dgm:spPr/>
      <dgm:t>
        <a:bodyPr/>
        <a:lstStyle/>
        <a:p>
          <a:endParaRPr lang="en-US"/>
        </a:p>
      </dgm:t>
    </dgm:pt>
    <dgm:pt modelId="{CD21E9DB-5B21-4929-A2A2-575BC890F8F9}" type="sibTrans" cxnId="{6A3FEE89-8FBB-49FE-9C4B-F94B0ED91FA3}">
      <dgm:prSet/>
      <dgm:spPr/>
      <dgm:t>
        <a:bodyPr/>
        <a:lstStyle/>
        <a:p>
          <a:endParaRPr lang="en-US"/>
        </a:p>
      </dgm:t>
    </dgm:pt>
    <dgm:pt modelId="{3737015F-9059-4A4A-AA60-F3D2F12F3D78}">
      <dgm:prSet phldrT="[Text]"/>
      <dgm:spPr>
        <a:ln>
          <a:solidFill>
            <a:srgbClr val="DC291E"/>
          </a:solidFill>
        </a:ln>
      </dgm:spPr>
      <dgm:t>
        <a:bodyPr/>
        <a:lstStyle/>
        <a:p>
          <a:r>
            <a:rPr lang="en-US" dirty="0"/>
            <a:t>Making Music</a:t>
          </a:r>
        </a:p>
      </dgm:t>
    </dgm:pt>
    <dgm:pt modelId="{671DF8F3-B7C2-41B4-BDED-B80046BFD4BF}" type="parTrans" cxnId="{51AC278D-F1E3-4E91-BB81-DC6AF2416B30}">
      <dgm:prSet/>
      <dgm:spPr/>
      <dgm:t>
        <a:bodyPr/>
        <a:lstStyle/>
        <a:p>
          <a:endParaRPr lang="en-US"/>
        </a:p>
      </dgm:t>
    </dgm:pt>
    <dgm:pt modelId="{B2AEBA3D-171D-4B52-B46F-F4532541942E}" type="sibTrans" cxnId="{51AC278D-F1E3-4E91-BB81-DC6AF2416B30}">
      <dgm:prSet/>
      <dgm:spPr/>
      <dgm:t>
        <a:bodyPr/>
        <a:lstStyle/>
        <a:p>
          <a:endParaRPr lang="en-US"/>
        </a:p>
      </dgm:t>
    </dgm:pt>
    <dgm:pt modelId="{E9E453B9-04B7-490F-97EF-795361EA541D}">
      <dgm:prSet phldrT="[Text]"/>
      <dgm:spPr>
        <a:ln>
          <a:solidFill>
            <a:srgbClr val="01A0E9"/>
          </a:solidFill>
        </a:ln>
      </dgm:spPr>
      <dgm:t>
        <a:bodyPr/>
        <a:lstStyle/>
        <a:p>
          <a:r>
            <a:rPr lang="en-US" dirty="0"/>
            <a:t>Cybersecurity: Keeping Our Networks Secure</a:t>
          </a:r>
        </a:p>
      </dgm:t>
    </dgm:pt>
    <dgm:pt modelId="{89F73BEE-6941-4569-A288-C81D823F913F}" type="parTrans" cxnId="{B5D8E36C-A387-42D7-9E75-809CEFD905E3}">
      <dgm:prSet/>
      <dgm:spPr/>
      <dgm:t>
        <a:bodyPr/>
        <a:lstStyle/>
        <a:p>
          <a:endParaRPr lang="en-US"/>
        </a:p>
      </dgm:t>
    </dgm:pt>
    <dgm:pt modelId="{1FC268E2-FE63-4CD8-8599-E7E9A1E288B6}" type="sibTrans" cxnId="{B5D8E36C-A387-42D7-9E75-809CEFD905E3}">
      <dgm:prSet/>
      <dgm:spPr/>
      <dgm:t>
        <a:bodyPr/>
        <a:lstStyle/>
        <a:p>
          <a:endParaRPr lang="en-US"/>
        </a:p>
      </dgm:t>
    </dgm:pt>
    <dgm:pt modelId="{714E3958-BC6C-4214-8846-AA2255C9D097}">
      <dgm:prSet phldrT="[Text]"/>
      <dgm:spPr>
        <a:ln>
          <a:solidFill>
            <a:srgbClr val="2EB135"/>
          </a:solidFill>
        </a:ln>
      </dgm:spPr>
      <dgm:t>
        <a:bodyPr/>
        <a:lstStyle/>
        <a:p>
          <a:r>
            <a:rPr lang="en-US" sz="800" i="0" dirty="0"/>
            <a:t>Programming Each Other</a:t>
          </a:r>
        </a:p>
      </dgm:t>
    </dgm:pt>
    <dgm:pt modelId="{DAFFA660-5E9B-4B2B-8153-BE026CA32FA0}" type="parTrans" cxnId="{7F5A5E79-69B5-4B02-AA79-108AC279AA1C}">
      <dgm:prSet/>
      <dgm:spPr/>
      <dgm:t>
        <a:bodyPr/>
        <a:lstStyle/>
        <a:p>
          <a:endParaRPr lang="en-US"/>
        </a:p>
      </dgm:t>
    </dgm:pt>
    <dgm:pt modelId="{D449F018-4503-46C5-9B55-309FB58BC16E}" type="sibTrans" cxnId="{7F5A5E79-69B5-4B02-AA79-108AC279AA1C}">
      <dgm:prSet/>
      <dgm:spPr/>
      <dgm:t>
        <a:bodyPr/>
        <a:lstStyle/>
        <a:p>
          <a:endParaRPr lang="en-US"/>
        </a:p>
      </dgm:t>
    </dgm:pt>
    <dgm:pt modelId="{2D156E73-86F1-4CD5-94A1-65DFD3630242}" type="pres">
      <dgm:prSet presAssocID="{2E17AD29-7D2C-41F0-AE2C-39B06A91BF06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29C9C2A8-D4B4-41FE-8994-6F2EFB5F4C40}" type="pres">
      <dgm:prSet presAssocID="{F1D70D3B-6345-4E10-B6A4-3C28BBBF235D}" presName="gear1" presStyleLbl="node1" presStyleIdx="0" presStyleCnt="3">
        <dgm:presLayoutVars>
          <dgm:chMax val="1"/>
          <dgm:bulletEnabled val="1"/>
        </dgm:presLayoutVars>
      </dgm:prSet>
      <dgm:spPr/>
    </dgm:pt>
    <dgm:pt modelId="{818ED6A8-0168-4E4B-86BE-0BF00E3925C3}" type="pres">
      <dgm:prSet presAssocID="{F1D70D3B-6345-4E10-B6A4-3C28BBBF235D}" presName="gear1srcNode" presStyleLbl="node1" presStyleIdx="0" presStyleCnt="3"/>
      <dgm:spPr/>
    </dgm:pt>
    <dgm:pt modelId="{53D3D39C-C157-48F4-93F6-1937423A4AEB}" type="pres">
      <dgm:prSet presAssocID="{F1D70D3B-6345-4E10-B6A4-3C28BBBF235D}" presName="gear1dstNode" presStyleLbl="node1" presStyleIdx="0" presStyleCnt="3"/>
      <dgm:spPr/>
    </dgm:pt>
    <dgm:pt modelId="{BA58ED2B-2E5C-4E40-9F38-8ECC7C32C647}" type="pres">
      <dgm:prSet presAssocID="{F1D70D3B-6345-4E10-B6A4-3C28BBBF235D}" presName="gear1ch" presStyleLbl="fgAcc1" presStyleIdx="0" presStyleCnt="3">
        <dgm:presLayoutVars>
          <dgm:chMax val="0"/>
          <dgm:bulletEnabled val="1"/>
        </dgm:presLayoutVars>
      </dgm:prSet>
      <dgm:spPr/>
    </dgm:pt>
    <dgm:pt modelId="{8B91FA9D-FDCF-4305-B0C3-808BADC07CF2}" type="pres">
      <dgm:prSet presAssocID="{DC9C2AF6-A689-45D6-92AC-8C72F10F32DC}" presName="gear2" presStyleLbl="node1" presStyleIdx="1" presStyleCnt="3">
        <dgm:presLayoutVars>
          <dgm:chMax val="1"/>
          <dgm:bulletEnabled val="1"/>
        </dgm:presLayoutVars>
      </dgm:prSet>
      <dgm:spPr/>
    </dgm:pt>
    <dgm:pt modelId="{004DFE4E-AFA4-4A96-9F17-0B3C64206247}" type="pres">
      <dgm:prSet presAssocID="{DC9C2AF6-A689-45D6-92AC-8C72F10F32DC}" presName="gear2srcNode" presStyleLbl="node1" presStyleIdx="1" presStyleCnt="3"/>
      <dgm:spPr/>
    </dgm:pt>
    <dgm:pt modelId="{40C61644-07B3-44BD-91EE-94FF9D4BF689}" type="pres">
      <dgm:prSet presAssocID="{DC9C2AF6-A689-45D6-92AC-8C72F10F32DC}" presName="gear2dstNode" presStyleLbl="node1" presStyleIdx="1" presStyleCnt="3"/>
      <dgm:spPr/>
    </dgm:pt>
    <dgm:pt modelId="{CB87C3A8-BB14-457C-AE2E-5C4340AFDEAC}" type="pres">
      <dgm:prSet presAssocID="{DC9C2AF6-A689-45D6-92AC-8C72F10F32DC}" presName="gear2ch" presStyleLbl="fgAcc1" presStyleIdx="1" presStyleCnt="3" custScaleX="88997" custScaleY="83371" custLinFactNeighborX="-5673" custLinFactNeighborY="-9449">
        <dgm:presLayoutVars>
          <dgm:chMax val="0"/>
          <dgm:bulletEnabled val="1"/>
        </dgm:presLayoutVars>
      </dgm:prSet>
      <dgm:spPr/>
    </dgm:pt>
    <dgm:pt modelId="{7EC70AD3-50F3-4B2D-872E-6A66AD319C4E}" type="pres">
      <dgm:prSet presAssocID="{E8878316-955D-44DD-A989-862F1A7E94B6}" presName="gear3" presStyleLbl="node1" presStyleIdx="2" presStyleCnt="3"/>
      <dgm:spPr/>
    </dgm:pt>
    <dgm:pt modelId="{9C4D6D1A-95FE-43EE-A856-0164878ACE05}" type="pres">
      <dgm:prSet presAssocID="{E8878316-955D-44DD-A989-862F1A7E94B6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B914EBEB-1C83-478C-87B3-B7A7FCB74B3F}" type="pres">
      <dgm:prSet presAssocID="{E8878316-955D-44DD-A989-862F1A7E94B6}" presName="gear3srcNode" presStyleLbl="node1" presStyleIdx="2" presStyleCnt="3"/>
      <dgm:spPr/>
    </dgm:pt>
    <dgm:pt modelId="{FF9C43AA-8CD6-434D-9095-E8739FEA5AEB}" type="pres">
      <dgm:prSet presAssocID="{E8878316-955D-44DD-A989-862F1A7E94B6}" presName="gear3dstNode" presStyleLbl="node1" presStyleIdx="2" presStyleCnt="3"/>
      <dgm:spPr/>
    </dgm:pt>
    <dgm:pt modelId="{4F948FB1-E391-4932-BA0F-0E1F5BB8A57B}" type="pres">
      <dgm:prSet presAssocID="{E8878316-955D-44DD-A989-862F1A7E94B6}" presName="gear3ch" presStyleLbl="fgAcc1" presStyleIdx="2" presStyleCnt="3" custLinFactNeighborX="6653" custLinFactNeighborY="2275">
        <dgm:presLayoutVars>
          <dgm:chMax val="0"/>
          <dgm:bulletEnabled val="1"/>
        </dgm:presLayoutVars>
      </dgm:prSet>
      <dgm:spPr/>
    </dgm:pt>
    <dgm:pt modelId="{85513C9C-4DC2-46A3-A4CE-3A409E8A13A3}" type="pres">
      <dgm:prSet presAssocID="{F3539571-792A-4296-8E56-0066EEF692DA}" presName="connector1" presStyleLbl="sibTrans2D1" presStyleIdx="0" presStyleCnt="3"/>
      <dgm:spPr/>
    </dgm:pt>
    <dgm:pt modelId="{B934D2E4-C675-47EC-B84F-1F94214DD292}" type="pres">
      <dgm:prSet presAssocID="{31D21C6E-8FB4-4654-9AA1-5924B131732B}" presName="connector2" presStyleLbl="sibTrans2D1" presStyleIdx="1" presStyleCnt="3"/>
      <dgm:spPr/>
    </dgm:pt>
    <dgm:pt modelId="{99A14885-B033-4937-AE12-563F51C7C35E}" type="pres">
      <dgm:prSet presAssocID="{571AE309-B0CE-4855-9508-E3E30FD518C2}" presName="connector3" presStyleLbl="sibTrans2D1" presStyleIdx="2" presStyleCnt="3"/>
      <dgm:spPr/>
    </dgm:pt>
  </dgm:ptLst>
  <dgm:cxnLst>
    <dgm:cxn modelId="{D3CF0802-33DC-455F-9A05-BCFC9868A0D4}" type="presOf" srcId="{FA6ADFA6-4A56-486D-9AE8-A44B144B9717}" destId="{CB87C3A8-BB14-457C-AE2E-5C4340AFDEAC}" srcOrd="0" destOrd="1" presId="urn:microsoft.com/office/officeart/2005/8/layout/gear1"/>
    <dgm:cxn modelId="{AA338302-2A78-4159-BD56-9F103B5CD494}" type="presOf" srcId="{F1D70D3B-6345-4E10-B6A4-3C28BBBF235D}" destId="{29C9C2A8-D4B4-41FE-8994-6F2EFB5F4C40}" srcOrd="0" destOrd="0" presId="urn:microsoft.com/office/officeart/2005/8/layout/gear1"/>
    <dgm:cxn modelId="{1CB72E12-686E-4032-AA7B-EB4D247D1C9A}" srcId="{2E17AD29-7D2C-41F0-AE2C-39B06A91BF06}" destId="{F1D70D3B-6345-4E10-B6A4-3C28BBBF235D}" srcOrd="0" destOrd="0" parTransId="{7015E4CC-4E47-4FAE-9751-7B4B75559EC5}" sibTransId="{F3539571-792A-4296-8E56-0066EEF692DA}"/>
    <dgm:cxn modelId="{EC75001B-4B3F-47DC-B61B-D1AADD516793}" srcId="{E8878316-955D-44DD-A989-862F1A7E94B6}" destId="{91C46F3E-C909-4A0A-93BA-6A418B5DE6AF}" srcOrd="2" destOrd="0" parTransId="{89D60B85-66C3-4492-AEC4-E546D6460CD8}" sibTransId="{7DFD2979-F3DF-484E-9CF1-A8E66932A03D}"/>
    <dgm:cxn modelId="{42FFB821-7E66-4FC6-A93A-BD7F198A8B7E}" srcId="{2E17AD29-7D2C-41F0-AE2C-39B06A91BF06}" destId="{DC9C2AF6-A689-45D6-92AC-8C72F10F32DC}" srcOrd="1" destOrd="0" parTransId="{FC504865-D434-4124-B408-732B3757FDEF}" sibTransId="{31D21C6E-8FB4-4654-9AA1-5924B131732B}"/>
    <dgm:cxn modelId="{429D2025-2460-4E05-924F-E57919ECCBC3}" srcId="{E8878316-955D-44DD-A989-862F1A7E94B6}" destId="{2244A0BF-FB88-428A-B1C7-5F9B303C9679}" srcOrd="1" destOrd="0" parTransId="{EF1377B0-0306-403E-AFF6-B1E79A7CDF5E}" sibTransId="{4CAA84CB-4931-4F36-AB46-C06C7CE7143D}"/>
    <dgm:cxn modelId="{75BFFC2F-7779-400F-B221-8BA65275D18D}" type="presOf" srcId="{47C793DB-9C7F-4EF7-AA87-2FEEEFEF48C4}" destId="{BA58ED2B-2E5C-4E40-9F38-8ECC7C32C647}" srcOrd="0" destOrd="0" presId="urn:microsoft.com/office/officeart/2005/8/layout/gear1"/>
    <dgm:cxn modelId="{13466330-E870-42B0-874D-8D5C43E4652C}" type="presOf" srcId="{E8878316-955D-44DD-A989-862F1A7E94B6}" destId="{B914EBEB-1C83-478C-87B3-B7A7FCB74B3F}" srcOrd="2" destOrd="0" presId="urn:microsoft.com/office/officeart/2005/8/layout/gear1"/>
    <dgm:cxn modelId="{BC309B31-4A1D-4BFB-B5D5-29693E449975}" srcId="{E8878316-955D-44DD-A989-862F1A7E94B6}" destId="{053E4FF6-495E-4652-8DA4-C48C84EEAA75}" srcOrd="0" destOrd="0" parTransId="{7FD81B04-2B03-49B2-96FA-92C57807984F}" sibTransId="{7A651A1E-C5EF-4531-9D11-18FD6CFDFCD9}"/>
    <dgm:cxn modelId="{CE0A1C34-E3FD-4092-AA64-89C2F2A06406}" type="presOf" srcId="{E9E453B9-04B7-490F-97EF-795361EA541D}" destId="{4F948FB1-E391-4932-BA0F-0E1F5BB8A57B}" srcOrd="0" destOrd="4" presId="urn:microsoft.com/office/officeart/2005/8/layout/gear1"/>
    <dgm:cxn modelId="{6B037E35-B427-4C4C-B594-4866251F51CF}" type="presOf" srcId="{2E17AD29-7D2C-41F0-AE2C-39B06A91BF06}" destId="{2D156E73-86F1-4CD5-94A1-65DFD3630242}" srcOrd="0" destOrd="0" presId="urn:microsoft.com/office/officeart/2005/8/layout/gear1"/>
    <dgm:cxn modelId="{4688713C-CEAD-4CB4-8FEE-6D9C7A6A6DB4}" type="presOf" srcId="{3737015F-9059-4A4A-AA60-F3D2F12F3D78}" destId="{BA58ED2B-2E5C-4E40-9F38-8ECC7C32C647}" srcOrd="0" destOrd="4" presId="urn:microsoft.com/office/officeart/2005/8/layout/gear1"/>
    <dgm:cxn modelId="{234AA03C-7E27-41C5-AFC0-55E6C6201A6D}" type="presOf" srcId="{053E4FF6-495E-4652-8DA4-C48C84EEAA75}" destId="{4F948FB1-E391-4932-BA0F-0E1F5BB8A57B}" srcOrd="0" destOrd="0" presId="urn:microsoft.com/office/officeart/2005/8/layout/gear1"/>
    <dgm:cxn modelId="{4E41D840-6910-4A68-98D2-3DA309871165}" type="presOf" srcId="{91C46F3E-C909-4A0A-93BA-6A418B5DE6AF}" destId="{4F948FB1-E391-4932-BA0F-0E1F5BB8A57B}" srcOrd="0" destOrd="2" presId="urn:microsoft.com/office/officeart/2005/8/layout/gear1"/>
    <dgm:cxn modelId="{C171965E-84AD-4204-8675-62AC0253DBD1}" type="presOf" srcId="{F1D70D3B-6345-4E10-B6A4-3C28BBBF235D}" destId="{818ED6A8-0168-4E4B-86BE-0BF00E3925C3}" srcOrd="1" destOrd="0" presId="urn:microsoft.com/office/officeart/2005/8/layout/gear1"/>
    <dgm:cxn modelId="{4BEA8A61-C984-4A5C-859F-FB20DC0DB3B8}" type="presOf" srcId="{31D21C6E-8FB4-4654-9AA1-5924B131732B}" destId="{B934D2E4-C675-47EC-B84F-1F94214DD292}" srcOrd="0" destOrd="0" presId="urn:microsoft.com/office/officeart/2005/8/layout/gear1"/>
    <dgm:cxn modelId="{783D0C42-8086-4D2F-9AFA-78681C4A9ECD}" type="presOf" srcId="{2244A0BF-FB88-428A-B1C7-5F9B303C9679}" destId="{4F948FB1-E391-4932-BA0F-0E1F5BB8A57B}" srcOrd="0" destOrd="1" presId="urn:microsoft.com/office/officeart/2005/8/layout/gear1"/>
    <dgm:cxn modelId="{33691944-47C9-4F39-B4D2-50AEC6B0FDF5}" type="presOf" srcId="{C1CD85A6-0FD1-4EB6-9BA3-986A7C11F72E}" destId="{CB87C3A8-BB14-457C-AE2E-5C4340AFDEAC}" srcOrd="0" destOrd="0" presId="urn:microsoft.com/office/officeart/2005/8/layout/gear1"/>
    <dgm:cxn modelId="{CEB1D865-A849-4000-8D57-95ADDD991629}" type="presOf" srcId="{F1D70D3B-6345-4E10-B6A4-3C28BBBF235D}" destId="{53D3D39C-C157-48F4-93F6-1937423A4AEB}" srcOrd="2" destOrd="0" presId="urn:microsoft.com/office/officeart/2005/8/layout/gear1"/>
    <dgm:cxn modelId="{EFE84748-D221-4DB2-A9F8-12B77F9BCBFF}" type="presOf" srcId="{F3539571-792A-4296-8E56-0066EEF692DA}" destId="{85513C9C-4DC2-46A3-A4CE-3A409E8A13A3}" srcOrd="0" destOrd="0" presId="urn:microsoft.com/office/officeart/2005/8/layout/gear1"/>
    <dgm:cxn modelId="{55CF486A-9645-4D38-A098-E0DD2FC2F360}" type="presOf" srcId="{58A4C1AE-A64D-4286-98E7-48A513612575}" destId="{BA58ED2B-2E5C-4E40-9F38-8ECC7C32C647}" srcOrd="0" destOrd="3" presId="urn:microsoft.com/office/officeart/2005/8/layout/gear1"/>
    <dgm:cxn modelId="{3D97956C-67BD-43A6-A2F2-6A42EC15514B}" type="presOf" srcId="{0967F13F-E0B9-462E-9966-221CF5FD1E12}" destId="{BA58ED2B-2E5C-4E40-9F38-8ECC7C32C647}" srcOrd="0" destOrd="2" presId="urn:microsoft.com/office/officeart/2005/8/layout/gear1"/>
    <dgm:cxn modelId="{B5D8E36C-A387-42D7-9E75-809CEFD905E3}" srcId="{E8878316-955D-44DD-A989-862F1A7E94B6}" destId="{E9E453B9-04B7-490F-97EF-795361EA541D}" srcOrd="4" destOrd="0" parTransId="{89F73BEE-6941-4569-A288-C81D823F913F}" sibTransId="{1FC268E2-FE63-4CD8-8599-E7E9A1E288B6}"/>
    <dgm:cxn modelId="{F0898D6D-DFB0-4E74-A94B-128A1AE8A766}" type="presOf" srcId="{714E3958-BC6C-4214-8846-AA2255C9D097}" destId="{CB87C3A8-BB14-457C-AE2E-5C4340AFDEAC}" srcOrd="0" destOrd="3" presId="urn:microsoft.com/office/officeart/2005/8/layout/gear1"/>
    <dgm:cxn modelId="{9B389173-C753-4133-8CFE-12CEB02E61BB}" type="presOf" srcId="{DFD68BD5-2AFA-406E-81A5-C0BE25D215D9}" destId="{CB87C3A8-BB14-457C-AE2E-5C4340AFDEAC}" srcOrd="0" destOrd="2" presId="urn:microsoft.com/office/officeart/2005/8/layout/gear1"/>
    <dgm:cxn modelId="{FFC85754-2036-436F-A7A4-9E0C921EE757}" srcId="{F1D70D3B-6345-4E10-B6A4-3C28BBBF235D}" destId="{58A4C1AE-A64D-4286-98E7-48A513612575}" srcOrd="3" destOrd="0" parTransId="{D8F220F6-2928-4B14-9939-BD7F430E7DC8}" sibTransId="{B2893ED9-CB6A-4F58-BC93-50C5790DEB8F}"/>
    <dgm:cxn modelId="{7F5A5E79-69B5-4B02-AA79-108AC279AA1C}" srcId="{DC9C2AF6-A689-45D6-92AC-8C72F10F32DC}" destId="{714E3958-BC6C-4214-8846-AA2255C9D097}" srcOrd="3" destOrd="0" parTransId="{DAFFA660-5E9B-4B2B-8153-BE026CA32FA0}" sibTransId="{D449F018-4503-46C5-9B55-309FB58BC16E}"/>
    <dgm:cxn modelId="{86B1D385-527D-4CE1-AE29-219CE74E434B}" srcId="{F1D70D3B-6345-4E10-B6A4-3C28BBBF235D}" destId="{47C793DB-9C7F-4EF7-AA87-2FEEEFEF48C4}" srcOrd="0" destOrd="0" parTransId="{B8F7C413-42ED-406E-A3CA-937E090A9F26}" sibTransId="{F1685181-6882-497E-8885-423F9444C243}"/>
    <dgm:cxn modelId="{ED1F6A88-06AA-435B-B7C9-808C2BCB383E}" type="presOf" srcId="{571AE309-B0CE-4855-9508-E3E30FD518C2}" destId="{99A14885-B033-4937-AE12-563F51C7C35E}" srcOrd="0" destOrd="0" presId="urn:microsoft.com/office/officeart/2005/8/layout/gear1"/>
    <dgm:cxn modelId="{6A3FEE89-8FBB-49FE-9C4B-F94B0ED91FA3}" srcId="{E8878316-955D-44DD-A989-862F1A7E94B6}" destId="{828D09F7-7723-4ED3-ACD5-A7CB1EF74545}" srcOrd="3" destOrd="0" parTransId="{00D6127C-4930-40FF-9D09-790C2FA72AB6}" sibTransId="{CD21E9DB-5B21-4929-A2A2-575BC890F8F9}"/>
    <dgm:cxn modelId="{51AC278D-F1E3-4E91-BB81-DC6AF2416B30}" srcId="{F1D70D3B-6345-4E10-B6A4-3C28BBBF235D}" destId="{3737015F-9059-4A4A-AA60-F3D2F12F3D78}" srcOrd="4" destOrd="0" parTransId="{671DF8F3-B7C2-41B4-BDED-B80046BFD4BF}" sibTransId="{B2AEBA3D-171D-4B52-B46F-F4532541942E}"/>
    <dgm:cxn modelId="{319FA88F-8608-4DAC-82EA-A3182477CD18}" type="presOf" srcId="{E3F3CC0E-2B6E-4F8E-A33E-430CF9133BBD}" destId="{BA58ED2B-2E5C-4E40-9F38-8ECC7C32C647}" srcOrd="0" destOrd="1" presId="urn:microsoft.com/office/officeart/2005/8/layout/gear1"/>
    <dgm:cxn modelId="{4E501A94-851E-45D5-BA84-C19444C1744B}" srcId="{F1D70D3B-6345-4E10-B6A4-3C28BBBF235D}" destId="{0967F13F-E0B9-462E-9966-221CF5FD1E12}" srcOrd="2" destOrd="0" parTransId="{6A1C97AE-E4F1-4A4F-AB83-E32CB64AF3C3}" sibTransId="{01DBB549-26EA-485D-A771-FCAD2A1F5442}"/>
    <dgm:cxn modelId="{CC036597-7B1C-4BFB-842A-605BCAF77AEC}" srcId="{DC9C2AF6-A689-45D6-92AC-8C72F10F32DC}" destId="{FA6ADFA6-4A56-486D-9AE8-A44B144B9717}" srcOrd="1" destOrd="0" parTransId="{7506B962-D2EF-423C-8A2A-4290C5F9C231}" sibTransId="{FC5629D6-E5AB-41EA-B18E-BB4ECE81E1FA}"/>
    <dgm:cxn modelId="{221BEEA5-2288-498B-872F-B18DDE486E3B}" type="presOf" srcId="{E8878316-955D-44DD-A989-862F1A7E94B6}" destId="{7EC70AD3-50F3-4B2D-872E-6A66AD319C4E}" srcOrd="0" destOrd="0" presId="urn:microsoft.com/office/officeart/2005/8/layout/gear1"/>
    <dgm:cxn modelId="{C5CABEB3-1072-4942-A579-4DAB3F04E608}" type="presOf" srcId="{DC9C2AF6-A689-45D6-92AC-8C72F10F32DC}" destId="{004DFE4E-AFA4-4A96-9F17-0B3C64206247}" srcOrd="1" destOrd="0" presId="urn:microsoft.com/office/officeart/2005/8/layout/gear1"/>
    <dgm:cxn modelId="{61423FC0-6EF7-46E9-A578-EC8EFCDDA990}" type="presOf" srcId="{DC9C2AF6-A689-45D6-92AC-8C72F10F32DC}" destId="{40C61644-07B3-44BD-91EE-94FF9D4BF689}" srcOrd="2" destOrd="0" presId="urn:microsoft.com/office/officeart/2005/8/layout/gear1"/>
    <dgm:cxn modelId="{017197CE-0B38-493F-ACAE-9D91BC2E5C20}" type="presOf" srcId="{DC9C2AF6-A689-45D6-92AC-8C72F10F32DC}" destId="{8B91FA9D-FDCF-4305-B0C3-808BADC07CF2}" srcOrd="0" destOrd="0" presId="urn:microsoft.com/office/officeart/2005/8/layout/gear1"/>
    <dgm:cxn modelId="{7DF9ABD7-8BBA-40F4-B65B-FCE325CCD47B}" srcId="{DC9C2AF6-A689-45D6-92AC-8C72F10F32DC}" destId="{DFD68BD5-2AFA-406E-81A5-C0BE25D215D9}" srcOrd="2" destOrd="0" parTransId="{F7B0134A-C7AF-408E-9EAC-4A502472B206}" sibTransId="{15846B89-17E2-46C8-B05A-A75E4763D9F6}"/>
    <dgm:cxn modelId="{991872E3-2844-4783-81FA-42A46DFFF716}" type="presOf" srcId="{E8878316-955D-44DD-A989-862F1A7E94B6}" destId="{FF9C43AA-8CD6-434D-9095-E8739FEA5AEB}" srcOrd="3" destOrd="0" presId="urn:microsoft.com/office/officeart/2005/8/layout/gear1"/>
    <dgm:cxn modelId="{97D888EC-E0E5-4CA4-98E1-DB3F81F3249D}" type="presOf" srcId="{E8878316-955D-44DD-A989-862F1A7E94B6}" destId="{9C4D6D1A-95FE-43EE-A856-0164878ACE05}" srcOrd="1" destOrd="0" presId="urn:microsoft.com/office/officeart/2005/8/layout/gear1"/>
    <dgm:cxn modelId="{B38D92EC-558F-4F23-A149-3432A83211F3}" type="presOf" srcId="{828D09F7-7723-4ED3-ACD5-A7CB1EF74545}" destId="{4F948FB1-E391-4932-BA0F-0E1F5BB8A57B}" srcOrd="0" destOrd="3" presId="urn:microsoft.com/office/officeart/2005/8/layout/gear1"/>
    <dgm:cxn modelId="{98C3DFF7-A2DE-45AF-9C30-05804E84150A}" srcId="{DC9C2AF6-A689-45D6-92AC-8C72F10F32DC}" destId="{C1CD85A6-0FD1-4EB6-9BA3-986A7C11F72E}" srcOrd="0" destOrd="0" parTransId="{F9C4F2BC-1E9B-4C62-AD3F-3461EA7D5CDC}" sibTransId="{F89B1FB0-6C5A-4416-91D1-9E2B845574D3}"/>
    <dgm:cxn modelId="{426E39FB-7D21-4932-991E-D6B436E0C516}" srcId="{2E17AD29-7D2C-41F0-AE2C-39B06A91BF06}" destId="{E8878316-955D-44DD-A989-862F1A7E94B6}" srcOrd="2" destOrd="0" parTransId="{FF300E1C-AF83-4AEC-9387-C66AB9C7ADB4}" sibTransId="{571AE309-B0CE-4855-9508-E3E30FD518C2}"/>
    <dgm:cxn modelId="{5BE7E9FD-8541-431C-82E5-4F17266B12C4}" srcId="{F1D70D3B-6345-4E10-B6A4-3C28BBBF235D}" destId="{E3F3CC0E-2B6E-4F8E-A33E-430CF9133BBD}" srcOrd="1" destOrd="0" parTransId="{07A4945A-5CF8-4BC3-B970-9D08D85B1103}" sibTransId="{7666B610-5A25-4869-8FF3-715CC16762B7}"/>
    <dgm:cxn modelId="{79EC4D22-C510-4F75-8253-0CC0DC2DDE92}" type="presParOf" srcId="{2D156E73-86F1-4CD5-94A1-65DFD3630242}" destId="{29C9C2A8-D4B4-41FE-8994-6F2EFB5F4C40}" srcOrd="0" destOrd="0" presId="urn:microsoft.com/office/officeart/2005/8/layout/gear1"/>
    <dgm:cxn modelId="{1D1A3EA0-1F46-4CF1-B98B-9EFB2B8271C5}" type="presParOf" srcId="{2D156E73-86F1-4CD5-94A1-65DFD3630242}" destId="{818ED6A8-0168-4E4B-86BE-0BF00E3925C3}" srcOrd="1" destOrd="0" presId="urn:microsoft.com/office/officeart/2005/8/layout/gear1"/>
    <dgm:cxn modelId="{25D4C65A-047A-44C5-B62A-B78037F0AA1E}" type="presParOf" srcId="{2D156E73-86F1-4CD5-94A1-65DFD3630242}" destId="{53D3D39C-C157-48F4-93F6-1937423A4AEB}" srcOrd="2" destOrd="0" presId="urn:microsoft.com/office/officeart/2005/8/layout/gear1"/>
    <dgm:cxn modelId="{690B6C32-6ACE-4137-BD9F-C734165FF2FF}" type="presParOf" srcId="{2D156E73-86F1-4CD5-94A1-65DFD3630242}" destId="{BA58ED2B-2E5C-4E40-9F38-8ECC7C32C647}" srcOrd="3" destOrd="0" presId="urn:microsoft.com/office/officeart/2005/8/layout/gear1"/>
    <dgm:cxn modelId="{5B3E7885-3E6C-4D88-8AEF-A83DB74735F3}" type="presParOf" srcId="{2D156E73-86F1-4CD5-94A1-65DFD3630242}" destId="{8B91FA9D-FDCF-4305-B0C3-808BADC07CF2}" srcOrd="4" destOrd="0" presId="urn:microsoft.com/office/officeart/2005/8/layout/gear1"/>
    <dgm:cxn modelId="{4D6212F9-43C6-4FB9-A006-74142F97544E}" type="presParOf" srcId="{2D156E73-86F1-4CD5-94A1-65DFD3630242}" destId="{004DFE4E-AFA4-4A96-9F17-0B3C64206247}" srcOrd="5" destOrd="0" presId="urn:microsoft.com/office/officeart/2005/8/layout/gear1"/>
    <dgm:cxn modelId="{FED8FA73-B3F7-4797-BCBF-0F7D75D0BAF5}" type="presParOf" srcId="{2D156E73-86F1-4CD5-94A1-65DFD3630242}" destId="{40C61644-07B3-44BD-91EE-94FF9D4BF689}" srcOrd="6" destOrd="0" presId="urn:microsoft.com/office/officeart/2005/8/layout/gear1"/>
    <dgm:cxn modelId="{29837FFC-670F-41D1-A28C-101AD1DDEC74}" type="presParOf" srcId="{2D156E73-86F1-4CD5-94A1-65DFD3630242}" destId="{CB87C3A8-BB14-457C-AE2E-5C4340AFDEAC}" srcOrd="7" destOrd="0" presId="urn:microsoft.com/office/officeart/2005/8/layout/gear1"/>
    <dgm:cxn modelId="{AB8CD056-0650-4EAB-B1EE-633956D27A9A}" type="presParOf" srcId="{2D156E73-86F1-4CD5-94A1-65DFD3630242}" destId="{7EC70AD3-50F3-4B2D-872E-6A66AD319C4E}" srcOrd="8" destOrd="0" presId="urn:microsoft.com/office/officeart/2005/8/layout/gear1"/>
    <dgm:cxn modelId="{C46250DA-A99C-4F8C-902C-A35F59B53761}" type="presParOf" srcId="{2D156E73-86F1-4CD5-94A1-65DFD3630242}" destId="{9C4D6D1A-95FE-43EE-A856-0164878ACE05}" srcOrd="9" destOrd="0" presId="urn:microsoft.com/office/officeart/2005/8/layout/gear1"/>
    <dgm:cxn modelId="{A93F1D0B-4BE0-470E-964A-1FFCCAAAF6C2}" type="presParOf" srcId="{2D156E73-86F1-4CD5-94A1-65DFD3630242}" destId="{B914EBEB-1C83-478C-87B3-B7A7FCB74B3F}" srcOrd="10" destOrd="0" presId="urn:microsoft.com/office/officeart/2005/8/layout/gear1"/>
    <dgm:cxn modelId="{C94487B4-D3A8-4AD6-9290-CD3C76D96CB7}" type="presParOf" srcId="{2D156E73-86F1-4CD5-94A1-65DFD3630242}" destId="{FF9C43AA-8CD6-434D-9095-E8739FEA5AEB}" srcOrd="11" destOrd="0" presId="urn:microsoft.com/office/officeart/2005/8/layout/gear1"/>
    <dgm:cxn modelId="{3188FBBE-AF09-48D0-84FF-506113E5240E}" type="presParOf" srcId="{2D156E73-86F1-4CD5-94A1-65DFD3630242}" destId="{4F948FB1-E391-4932-BA0F-0E1F5BB8A57B}" srcOrd="12" destOrd="0" presId="urn:microsoft.com/office/officeart/2005/8/layout/gear1"/>
    <dgm:cxn modelId="{7EAE9A2B-787E-4901-B2B1-A4F1A93E66F3}" type="presParOf" srcId="{2D156E73-86F1-4CD5-94A1-65DFD3630242}" destId="{85513C9C-4DC2-46A3-A4CE-3A409E8A13A3}" srcOrd="13" destOrd="0" presId="urn:microsoft.com/office/officeart/2005/8/layout/gear1"/>
    <dgm:cxn modelId="{BD5A88DB-8C1D-41DD-9A18-298DF27EC56C}" type="presParOf" srcId="{2D156E73-86F1-4CD5-94A1-65DFD3630242}" destId="{B934D2E4-C675-47EC-B84F-1F94214DD292}" srcOrd="14" destOrd="0" presId="urn:microsoft.com/office/officeart/2005/8/layout/gear1"/>
    <dgm:cxn modelId="{B2DD9E4D-66B3-4A6E-A9BA-95A5A8235EDC}" type="presParOf" srcId="{2D156E73-86F1-4CD5-94A1-65DFD3630242}" destId="{99A14885-B033-4937-AE12-563F51C7C35E}" srcOrd="15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1042AF1-8251-4150-8CB9-74CE14A40F1F}" type="doc">
      <dgm:prSet loTypeId="urn:microsoft.com/office/officeart/2005/8/layout/cycle6" loCatId="cycl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4E6BE9C-E943-4AD6-B3EB-6CB9EA841069}">
      <dgm:prSet/>
      <dgm:spPr>
        <a:solidFill>
          <a:srgbClr val="9A9B9D"/>
        </a:solidFill>
      </dgm:spPr>
      <dgm:t>
        <a:bodyPr/>
        <a:lstStyle/>
        <a:p>
          <a:r>
            <a:rPr lang="en-US" b="1" dirty="0"/>
            <a:t>Critical Thinking</a:t>
          </a:r>
          <a:endParaRPr lang="en-US" dirty="0"/>
        </a:p>
      </dgm:t>
    </dgm:pt>
    <dgm:pt modelId="{AE57E8BE-8F60-4078-9AC7-4D0A9751C076}" type="parTrans" cxnId="{A5EC8D77-16DA-4C7D-AF39-68E000D793FE}">
      <dgm:prSet/>
      <dgm:spPr/>
      <dgm:t>
        <a:bodyPr/>
        <a:lstStyle/>
        <a:p>
          <a:endParaRPr lang="en-US"/>
        </a:p>
      </dgm:t>
    </dgm:pt>
    <dgm:pt modelId="{50F8C5B7-B4FC-458D-BE44-380562C33113}" type="sibTrans" cxnId="{A5EC8D77-16DA-4C7D-AF39-68E000D793FE}">
      <dgm:prSet>
        <dgm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dgm:style>
      </dgm:prSet>
      <dgm:spPr>
        <a:ln>
          <a:solidFill>
            <a:srgbClr val="005195"/>
          </a:solidFill>
        </a:ln>
      </dgm:spPr>
      <dgm:t>
        <a:bodyPr/>
        <a:lstStyle/>
        <a:p>
          <a:endParaRPr lang="en-US"/>
        </a:p>
      </dgm:t>
    </dgm:pt>
    <dgm:pt modelId="{AE11A203-E82A-4D88-8CD0-655146FA9C25}">
      <dgm:prSet/>
      <dgm:spPr>
        <a:solidFill>
          <a:srgbClr val="9A9B9D"/>
        </a:solidFill>
      </dgm:spPr>
      <dgm:t>
        <a:bodyPr/>
        <a:lstStyle/>
        <a:p>
          <a:r>
            <a:rPr lang="en-US" b="1" dirty="0"/>
            <a:t>Inquiry &amp; Analysis</a:t>
          </a:r>
          <a:endParaRPr lang="en-US" dirty="0"/>
        </a:p>
      </dgm:t>
    </dgm:pt>
    <dgm:pt modelId="{6DD643AB-17A8-4CBD-A929-F282FB775E0F}" type="parTrans" cxnId="{FD49E366-5950-4D14-B630-424F1ECE1B40}">
      <dgm:prSet/>
      <dgm:spPr/>
      <dgm:t>
        <a:bodyPr/>
        <a:lstStyle/>
        <a:p>
          <a:endParaRPr lang="en-US"/>
        </a:p>
      </dgm:t>
    </dgm:pt>
    <dgm:pt modelId="{D86A62CE-8B60-49CA-A5B2-2B8AAFFA90C1}" type="sibTrans" cxnId="{FD49E366-5950-4D14-B630-424F1ECE1B40}">
      <dgm:prSet>
        <dgm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dgm:style>
      </dgm:prSet>
      <dgm:spPr>
        <a:ln>
          <a:solidFill>
            <a:srgbClr val="005195"/>
          </a:solidFill>
        </a:ln>
      </dgm:spPr>
      <dgm:t>
        <a:bodyPr/>
        <a:lstStyle/>
        <a:p>
          <a:endParaRPr lang="en-US"/>
        </a:p>
      </dgm:t>
    </dgm:pt>
    <dgm:pt modelId="{E83134F1-4330-499A-864D-0301652E9851}">
      <dgm:prSet/>
      <dgm:spPr>
        <a:solidFill>
          <a:srgbClr val="9A9B9D"/>
        </a:solidFill>
      </dgm:spPr>
      <dgm:t>
        <a:bodyPr/>
        <a:lstStyle/>
        <a:p>
          <a:r>
            <a:rPr lang="en-US" b="1"/>
            <a:t>Teamwork &amp; Collaboration</a:t>
          </a:r>
          <a:endParaRPr lang="en-US"/>
        </a:p>
      </dgm:t>
    </dgm:pt>
    <dgm:pt modelId="{59DE13C9-ACE8-4149-8ACE-B2C6B7A6420E}" type="parTrans" cxnId="{DE7FC61C-B1BE-45B9-BEA1-83C8E8F0E5C0}">
      <dgm:prSet/>
      <dgm:spPr/>
      <dgm:t>
        <a:bodyPr/>
        <a:lstStyle/>
        <a:p>
          <a:endParaRPr lang="en-US"/>
        </a:p>
      </dgm:t>
    </dgm:pt>
    <dgm:pt modelId="{7D386FF8-5380-4ACB-97A9-7EEFA8BB184D}" type="sibTrans" cxnId="{DE7FC61C-B1BE-45B9-BEA1-83C8E8F0E5C0}">
      <dgm:prSet>
        <dgm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dgm:style>
      </dgm:prSet>
      <dgm:spPr>
        <a:solidFill>
          <a:srgbClr val="005195"/>
        </a:solidFill>
        <a:ln>
          <a:solidFill>
            <a:srgbClr val="005195"/>
          </a:solidFill>
        </a:ln>
      </dgm:spPr>
      <dgm:t>
        <a:bodyPr/>
        <a:lstStyle/>
        <a:p>
          <a:endParaRPr lang="en-US"/>
        </a:p>
      </dgm:t>
    </dgm:pt>
    <dgm:pt modelId="{5FFF137F-0098-4CC3-BB26-0CA17E35D57F}">
      <dgm:prSet/>
      <dgm:spPr>
        <a:solidFill>
          <a:srgbClr val="9A9B9D"/>
        </a:solidFill>
      </dgm:spPr>
      <dgm:t>
        <a:bodyPr/>
        <a:lstStyle/>
        <a:p>
          <a:r>
            <a:rPr lang="en-US" b="1"/>
            <a:t>Communication</a:t>
          </a:r>
          <a:endParaRPr lang="en-US"/>
        </a:p>
      </dgm:t>
    </dgm:pt>
    <dgm:pt modelId="{26547DC7-895F-4E72-A19C-9025ADBB8B48}" type="parTrans" cxnId="{03400924-76B1-4F86-B069-DC8DC814F46A}">
      <dgm:prSet/>
      <dgm:spPr/>
      <dgm:t>
        <a:bodyPr/>
        <a:lstStyle/>
        <a:p>
          <a:endParaRPr lang="en-US"/>
        </a:p>
      </dgm:t>
    </dgm:pt>
    <dgm:pt modelId="{83B5DBAF-6A69-44F4-A62D-0DD388B5353A}" type="sibTrans" cxnId="{03400924-76B1-4F86-B069-DC8DC814F46A}">
      <dgm:prSet>
        <dgm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dgm:style>
      </dgm:prSet>
      <dgm:spPr>
        <a:ln>
          <a:solidFill>
            <a:srgbClr val="005195"/>
          </a:solidFill>
        </a:ln>
      </dgm:spPr>
      <dgm:t>
        <a:bodyPr/>
        <a:lstStyle/>
        <a:p>
          <a:endParaRPr lang="en-US"/>
        </a:p>
      </dgm:t>
    </dgm:pt>
    <dgm:pt modelId="{E94AAF96-CE82-416A-B04F-2A2444DF1C18}">
      <dgm:prSet/>
      <dgm:spPr>
        <a:solidFill>
          <a:srgbClr val="9A9B9D"/>
        </a:solidFill>
      </dgm:spPr>
      <dgm:t>
        <a:bodyPr/>
        <a:lstStyle/>
        <a:p>
          <a:r>
            <a:rPr lang="en-US" b="1" dirty="0"/>
            <a:t>Project Management</a:t>
          </a:r>
          <a:endParaRPr lang="en-US" dirty="0"/>
        </a:p>
      </dgm:t>
    </dgm:pt>
    <dgm:pt modelId="{34EE7069-221E-4877-9BC0-ACF41B26B504}" type="parTrans" cxnId="{4A0AA328-13C5-41EA-BDB6-A9C4A8DFFE29}">
      <dgm:prSet/>
      <dgm:spPr/>
      <dgm:t>
        <a:bodyPr/>
        <a:lstStyle/>
        <a:p>
          <a:endParaRPr lang="en-US"/>
        </a:p>
      </dgm:t>
    </dgm:pt>
    <dgm:pt modelId="{4050CFEC-BCEA-46A1-A9B4-2BA50D4761D7}" type="sibTrans" cxnId="{4A0AA328-13C5-41EA-BDB6-A9C4A8DFFE29}">
      <dgm:prSet>
        <dgm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dgm:style>
      </dgm:prSet>
      <dgm:spPr>
        <a:solidFill>
          <a:srgbClr val="005195"/>
        </a:solidFill>
        <a:ln>
          <a:solidFill>
            <a:srgbClr val="005195"/>
          </a:solidFill>
        </a:ln>
      </dgm:spPr>
      <dgm:t>
        <a:bodyPr/>
        <a:lstStyle/>
        <a:p>
          <a:endParaRPr lang="en-US"/>
        </a:p>
      </dgm:t>
    </dgm:pt>
    <dgm:pt modelId="{7862A177-4138-4EEF-9517-12197FE59CAA}" type="pres">
      <dgm:prSet presAssocID="{31042AF1-8251-4150-8CB9-74CE14A40F1F}" presName="cycle" presStyleCnt="0">
        <dgm:presLayoutVars>
          <dgm:dir/>
          <dgm:resizeHandles val="exact"/>
        </dgm:presLayoutVars>
      </dgm:prSet>
      <dgm:spPr/>
    </dgm:pt>
    <dgm:pt modelId="{8F9CF699-1C1C-4A16-9D31-C8B6CCA8533E}" type="pres">
      <dgm:prSet presAssocID="{44E6BE9C-E943-4AD6-B3EB-6CB9EA841069}" presName="node" presStyleLbl="node1" presStyleIdx="0" presStyleCnt="5">
        <dgm:presLayoutVars>
          <dgm:bulletEnabled val="1"/>
        </dgm:presLayoutVars>
      </dgm:prSet>
      <dgm:spPr/>
    </dgm:pt>
    <dgm:pt modelId="{E367551A-D526-4F8E-B879-F3545184659B}" type="pres">
      <dgm:prSet presAssocID="{44E6BE9C-E943-4AD6-B3EB-6CB9EA841069}" presName="spNode" presStyleCnt="0"/>
      <dgm:spPr/>
    </dgm:pt>
    <dgm:pt modelId="{9A3F0400-C7DA-4A52-AFA0-33489CE48D02}" type="pres">
      <dgm:prSet presAssocID="{50F8C5B7-B4FC-458D-BE44-380562C33113}" presName="sibTrans" presStyleLbl="sibTrans1D1" presStyleIdx="0" presStyleCnt="5"/>
      <dgm:spPr/>
    </dgm:pt>
    <dgm:pt modelId="{FDFD6F74-A702-4EBC-B518-ED7DA6CD21EB}" type="pres">
      <dgm:prSet presAssocID="{AE11A203-E82A-4D88-8CD0-655146FA9C25}" presName="node" presStyleLbl="node1" presStyleIdx="1" presStyleCnt="5">
        <dgm:presLayoutVars>
          <dgm:bulletEnabled val="1"/>
        </dgm:presLayoutVars>
      </dgm:prSet>
      <dgm:spPr/>
    </dgm:pt>
    <dgm:pt modelId="{D5438F5C-7DC3-4643-A555-34309FFFDF26}" type="pres">
      <dgm:prSet presAssocID="{AE11A203-E82A-4D88-8CD0-655146FA9C25}" presName="spNode" presStyleCnt="0"/>
      <dgm:spPr/>
    </dgm:pt>
    <dgm:pt modelId="{4EC9852E-4D21-4AF9-8FA6-25245C593A7F}" type="pres">
      <dgm:prSet presAssocID="{D86A62CE-8B60-49CA-A5B2-2B8AAFFA90C1}" presName="sibTrans" presStyleLbl="sibTrans1D1" presStyleIdx="1" presStyleCnt="5"/>
      <dgm:spPr/>
    </dgm:pt>
    <dgm:pt modelId="{B2488278-9E9A-410D-A7A9-27046318B74C}" type="pres">
      <dgm:prSet presAssocID="{E83134F1-4330-499A-864D-0301652E9851}" presName="node" presStyleLbl="node1" presStyleIdx="2" presStyleCnt="5">
        <dgm:presLayoutVars>
          <dgm:bulletEnabled val="1"/>
        </dgm:presLayoutVars>
      </dgm:prSet>
      <dgm:spPr/>
    </dgm:pt>
    <dgm:pt modelId="{B72F3CFD-3622-4258-9AB2-1795C45642CF}" type="pres">
      <dgm:prSet presAssocID="{E83134F1-4330-499A-864D-0301652E9851}" presName="spNode" presStyleCnt="0"/>
      <dgm:spPr/>
    </dgm:pt>
    <dgm:pt modelId="{490BE5B4-8C82-479D-AA69-13937C3F3865}" type="pres">
      <dgm:prSet presAssocID="{7D386FF8-5380-4ACB-97A9-7EEFA8BB184D}" presName="sibTrans" presStyleLbl="sibTrans1D1" presStyleIdx="2" presStyleCnt="5"/>
      <dgm:spPr/>
    </dgm:pt>
    <dgm:pt modelId="{0B86B399-BEA7-4D61-B86A-092ABEE65E0B}" type="pres">
      <dgm:prSet presAssocID="{5FFF137F-0098-4CC3-BB26-0CA17E35D57F}" presName="node" presStyleLbl="node1" presStyleIdx="3" presStyleCnt="5">
        <dgm:presLayoutVars>
          <dgm:bulletEnabled val="1"/>
        </dgm:presLayoutVars>
      </dgm:prSet>
      <dgm:spPr/>
    </dgm:pt>
    <dgm:pt modelId="{59395D21-46E0-4518-B880-79868D57E198}" type="pres">
      <dgm:prSet presAssocID="{5FFF137F-0098-4CC3-BB26-0CA17E35D57F}" presName="spNode" presStyleCnt="0"/>
      <dgm:spPr/>
    </dgm:pt>
    <dgm:pt modelId="{11B3BC4A-06EC-40F6-BB10-D1E57C8A9757}" type="pres">
      <dgm:prSet presAssocID="{83B5DBAF-6A69-44F4-A62D-0DD388B5353A}" presName="sibTrans" presStyleLbl="sibTrans1D1" presStyleIdx="3" presStyleCnt="5"/>
      <dgm:spPr/>
    </dgm:pt>
    <dgm:pt modelId="{7E3A80F2-131B-4AD1-BF26-19404E26128E}" type="pres">
      <dgm:prSet presAssocID="{E94AAF96-CE82-416A-B04F-2A2444DF1C18}" presName="node" presStyleLbl="node1" presStyleIdx="4" presStyleCnt="5">
        <dgm:presLayoutVars>
          <dgm:bulletEnabled val="1"/>
        </dgm:presLayoutVars>
      </dgm:prSet>
      <dgm:spPr/>
    </dgm:pt>
    <dgm:pt modelId="{8CC67CE1-39BA-4ABD-85DA-721B20E5562D}" type="pres">
      <dgm:prSet presAssocID="{E94AAF96-CE82-416A-B04F-2A2444DF1C18}" presName="spNode" presStyleCnt="0"/>
      <dgm:spPr/>
    </dgm:pt>
    <dgm:pt modelId="{6B0E6D39-4F1E-42B6-8636-D639BFB9EA3C}" type="pres">
      <dgm:prSet presAssocID="{4050CFEC-BCEA-46A1-A9B4-2BA50D4761D7}" presName="sibTrans" presStyleLbl="sibTrans1D1" presStyleIdx="4" presStyleCnt="5"/>
      <dgm:spPr/>
    </dgm:pt>
  </dgm:ptLst>
  <dgm:cxnLst>
    <dgm:cxn modelId="{8C139A13-FE95-4C2A-ACCC-4500D041D019}" type="presOf" srcId="{31042AF1-8251-4150-8CB9-74CE14A40F1F}" destId="{7862A177-4138-4EEF-9517-12197FE59CAA}" srcOrd="0" destOrd="0" presId="urn:microsoft.com/office/officeart/2005/8/layout/cycle6"/>
    <dgm:cxn modelId="{DE7FC61C-B1BE-45B9-BEA1-83C8E8F0E5C0}" srcId="{31042AF1-8251-4150-8CB9-74CE14A40F1F}" destId="{E83134F1-4330-499A-864D-0301652E9851}" srcOrd="2" destOrd="0" parTransId="{59DE13C9-ACE8-4149-8ACE-B2C6B7A6420E}" sibTransId="{7D386FF8-5380-4ACB-97A9-7EEFA8BB184D}"/>
    <dgm:cxn modelId="{D057FE1C-C691-4B28-AE86-50A0D878795F}" type="presOf" srcId="{5FFF137F-0098-4CC3-BB26-0CA17E35D57F}" destId="{0B86B399-BEA7-4D61-B86A-092ABEE65E0B}" srcOrd="0" destOrd="0" presId="urn:microsoft.com/office/officeart/2005/8/layout/cycle6"/>
    <dgm:cxn modelId="{03400924-76B1-4F86-B069-DC8DC814F46A}" srcId="{31042AF1-8251-4150-8CB9-74CE14A40F1F}" destId="{5FFF137F-0098-4CC3-BB26-0CA17E35D57F}" srcOrd="3" destOrd="0" parTransId="{26547DC7-895F-4E72-A19C-9025ADBB8B48}" sibTransId="{83B5DBAF-6A69-44F4-A62D-0DD388B5353A}"/>
    <dgm:cxn modelId="{4A0AA328-13C5-41EA-BDB6-A9C4A8DFFE29}" srcId="{31042AF1-8251-4150-8CB9-74CE14A40F1F}" destId="{E94AAF96-CE82-416A-B04F-2A2444DF1C18}" srcOrd="4" destOrd="0" parTransId="{34EE7069-221E-4877-9BC0-ACF41B26B504}" sibTransId="{4050CFEC-BCEA-46A1-A9B4-2BA50D4761D7}"/>
    <dgm:cxn modelId="{736A4531-FA6F-442F-BADB-3E919CEBF524}" type="presOf" srcId="{E83134F1-4330-499A-864D-0301652E9851}" destId="{B2488278-9E9A-410D-A7A9-27046318B74C}" srcOrd="0" destOrd="0" presId="urn:microsoft.com/office/officeart/2005/8/layout/cycle6"/>
    <dgm:cxn modelId="{FD49E366-5950-4D14-B630-424F1ECE1B40}" srcId="{31042AF1-8251-4150-8CB9-74CE14A40F1F}" destId="{AE11A203-E82A-4D88-8CD0-655146FA9C25}" srcOrd="1" destOrd="0" parTransId="{6DD643AB-17A8-4CBD-A929-F282FB775E0F}" sibTransId="{D86A62CE-8B60-49CA-A5B2-2B8AAFFA90C1}"/>
    <dgm:cxn modelId="{C6A99C6E-91C0-41A1-9822-E6F4902A8ACB}" type="presOf" srcId="{D86A62CE-8B60-49CA-A5B2-2B8AAFFA90C1}" destId="{4EC9852E-4D21-4AF9-8FA6-25245C593A7F}" srcOrd="0" destOrd="0" presId="urn:microsoft.com/office/officeart/2005/8/layout/cycle6"/>
    <dgm:cxn modelId="{A5EC8D77-16DA-4C7D-AF39-68E000D793FE}" srcId="{31042AF1-8251-4150-8CB9-74CE14A40F1F}" destId="{44E6BE9C-E943-4AD6-B3EB-6CB9EA841069}" srcOrd="0" destOrd="0" parTransId="{AE57E8BE-8F60-4078-9AC7-4D0A9751C076}" sibTransId="{50F8C5B7-B4FC-458D-BE44-380562C33113}"/>
    <dgm:cxn modelId="{52DB62A5-5FAC-468C-8436-609B0B56FDFD}" type="presOf" srcId="{4050CFEC-BCEA-46A1-A9B4-2BA50D4761D7}" destId="{6B0E6D39-4F1E-42B6-8636-D639BFB9EA3C}" srcOrd="0" destOrd="0" presId="urn:microsoft.com/office/officeart/2005/8/layout/cycle6"/>
    <dgm:cxn modelId="{438F65A9-C544-4590-B112-3F15BB5A909E}" type="presOf" srcId="{AE11A203-E82A-4D88-8CD0-655146FA9C25}" destId="{FDFD6F74-A702-4EBC-B518-ED7DA6CD21EB}" srcOrd="0" destOrd="0" presId="urn:microsoft.com/office/officeart/2005/8/layout/cycle6"/>
    <dgm:cxn modelId="{8DC4F3C1-D485-40CF-A851-63E2BE49A143}" type="presOf" srcId="{7D386FF8-5380-4ACB-97A9-7EEFA8BB184D}" destId="{490BE5B4-8C82-479D-AA69-13937C3F3865}" srcOrd="0" destOrd="0" presId="urn:microsoft.com/office/officeart/2005/8/layout/cycle6"/>
    <dgm:cxn modelId="{5BB6FAC5-2427-4D40-8564-3206BB0AB3FA}" type="presOf" srcId="{E94AAF96-CE82-416A-B04F-2A2444DF1C18}" destId="{7E3A80F2-131B-4AD1-BF26-19404E26128E}" srcOrd="0" destOrd="0" presId="urn:microsoft.com/office/officeart/2005/8/layout/cycle6"/>
    <dgm:cxn modelId="{1F8470C8-E0CA-42AA-9A7B-314F146596B0}" type="presOf" srcId="{83B5DBAF-6A69-44F4-A62D-0DD388B5353A}" destId="{11B3BC4A-06EC-40F6-BB10-D1E57C8A9757}" srcOrd="0" destOrd="0" presId="urn:microsoft.com/office/officeart/2005/8/layout/cycle6"/>
    <dgm:cxn modelId="{FFC6C2CB-F794-40FC-B3C9-8EDCC4E33A1D}" type="presOf" srcId="{50F8C5B7-B4FC-458D-BE44-380562C33113}" destId="{9A3F0400-C7DA-4A52-AFA0-33489CE48D02}" srcOrd="0" destOrd="0" presId="urn:microsoft.com/office/officeart/2005/8/layout/cycle6"/>
    <dgm:cxn modelId="{DC8E81D7-7AB5-402B-988A-E038FBB2354D}" type="presOf" srcId="{44E6BE9C-E943-4AD6-B3EB-6CB9EA841069}" destId="{8F9CF699-1C1C-4A16-9D31-C8B6CCA8533E}" srcOrd="0" destOrd="0" presId="urn:microsoft.com/office/officeart/2005/8/layout/cycle6"/>
    <dgm:cxn modelId="{510F1C9E-FB1E-40D6-B544-E9FADFC959ED}" type="presParOf" srcId="{7862A177-4138-4EEF-9517-12197FE59CAA}" destId="{8F9CF699-1C1C-4A16-9D31-C8B6CCA8533E}" srcOrd="0" destOrd="0" presId="urn:microsoft.com/office/officeart/2005/8/layout/cycle6"/>
    <dgm:cxn modelId="{9AA32E4A-E6F1-49DB-A7B7-A5717C0DE5B1}" type="presParOf" srcId="{7862A177-4138-4EEF-9517-12197FE59CAA}" destId="{E367551A-D526-4F8E-B879-F3545184659B}" srcOrd="1" destOrd="0" presId="urn:microsoft.com/office/officeart/2005/8/layout/cycle6"/>
    <dgm:cxn modelId="{88CF4CCB-99FD-4DF1-AC82-15C6D9B54227}" type="presParOf" srcId="{7862A177-4138-4EEF-9517-12197FE59CAA}" destId="{9A3F0400-C7DA-4A52-AFA0-33489CE48D02}" srcOrd="2" destOrd="0" presId="urn:microsoft.com/office/officeart/2005/8/layout/cycle6"/>
    <dgm:cxn modelId="{493792CC-7B53-4417-8FBF-52AB506B4F2E}" type="presParOf" srcId="{7862A177-4138-4EEF-9517-12197FE59CAA}" destId="{FDFD6F74-A702-4EBC-B518-ED7DA6CD21EB}" srcOrd="3" destOrd="0" presId="urn:microsoft.com/office/officeart/2005/8/layout/cycle6"/>
    <dgm:cxn modelId="{3C8DF0D0-63E0-4580-9BF5-949857F422DB}" type="presParOf" srcId="{7862A177-4138-4EEF-9517-12197FE59CAA}" destId="{D5438F5C-7DC3-4643-A555-34309FFFDF26}" srcOrd="4" destOrd="0" presId="urn:microsoft.com/office/officeart/2005/8/layout/cycle6"/>
    <dgm:cxn modelId="{C41EC6BB-0FD9-4DA0-9819-2324511F6716}" type="presParOf" srcId="{7862A177-4138-4EEF-9517-12197FE59CAA}" destId="{4EC9852E-4D21-4AF9-8FA6-25245C593A7F}" srcOrd="5" destOrd="0" presId="urn:microsoft.com/office/officeart/2005/8/layout/cycle6"/>
    <dgm:cxn modelId="{33ED4582-A148-4545-9988-5ACFE962F7D3}" type="presParOf" srcId="{7862A177-4138-4EEF-9517-12197FE59CAA}" destId="{B2488278-9E9A-410D-A7A9-27046318B74C}" srcOrd="6" destOrd="0" presId="urn:microsoft.com/office/officeart/2005/8/layout/cycle6"/>
    <dgm:cxn modelId="{8E855990-0F74-454F-BCEF-530C9D33AD5F}" type="presParOf" srcId="{7862A177-4138-4EEF-9517-12197FE59CAA}" destId="{B72F3CFD-3622-4258-9AB2-1795C45642CF}" srcOrd="7" destOrd="0" presId="urn:microsoft.com/office/officeart/2005/8/layout/cycle6"/>
    <dgm:cxn modelId="{A05B7D9B-C8E3-4884-A204-A9388B70CBFB}" type="presParOf" srcId="{7862A177-4138-4EEF-9517-12197FE59CAA}" destId="{490BE5B4-8C82-479D-AA69-13937C3F3865}" srcOrd="8" destOrd="0" presId="urn:microsoft.com/office/officeart/2005/8/layout/cycle6"/>
    <dgm:cxn modelId="{3672EA56-AAAB-4429-AB77-243EBC423C34}" type="presParOf" srcId="{7862A177-4138-4EEF-9517-12197FE59CAA}" destId="{0B86B399-BEA7-4D61-B86A-092ABEE65E0B}" srcOrd="9" destOrd="0" presId="urn:microsoft.com/office/officeart/2005/8/layout/cycle6"/>
    <dgm:cxn modelId="{C7DDE2B3-5DB4-43ED-8CDD-C1825DF3CC9D}" type="presParOf" srcId="{7862A177-4138-4EEF-9517-12197FE59CAA}" destId="{59395D21-46E0-4518-B880-79868D57E198}" srcOrd="10" destOrd="0" presId="urn:microsoft.com/office/officeart/2005/8/layout/cycle6"/>
    <dgm:cxn modelId="{892D51FE-874B-45E2-85D6-33A36DAFD3D8}" type="presParOf" srcId="{7862A177-4138-4EEF-9517-12197FE59CAA}" destId="{11B3BC4A-06EC-40F6-BB10-D1E57C8A9757}" srcOrd="11" destOrd="0" presId="urn:microsoft.com/office/officeart/2005/8/layout/cycle6"/>
    <dgm:cxn modelId="{248A57A3-BF98-49EF-93B6-43545456E545}" type="presParOf" srcId="{7862A177-4138-4EEF-9517-12197FE59CAA}" destId="{7E3A80F2-131B-4AD1-BF26-19404E26128E}" srcOrd="12" destOrd="0" presId="urn:microsoft.com/office/officeart/2005/8/layout/cycle6"/>
    <dgm:cxn modelId="{25D0C715-E7D0-4B15-B216-4BAD3744293B}" type="presParOf" srcId="{7862A177-4138-4EEF-9517-12197FE59CAA}" destId="{8CC67CE1-39BA-4ABD-85DA-721B20E5562D}" srcOrd="13" destOrd="0" presId="urn:microsoft.com/office/officeart/2005/8/layout/cycle6"/>
    <dgm:cxn modelId="{CC03F54E-A428-4ECF-AA3E-912022FF918F}" type="presParOf" srcId="{7862A177-4138-4EEF-9517-12197FE59CAA}" destId="{6B0E6D39-4F1E-42B6-8636-D639BFB9EA3C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C9C2A8-D4B4-41FE-8994-6F2EFB5F4C40}">
      <dsp:nvSpPr>
        <dsp:cNvPr id="0" name=""/>
        <dsp:cNvSpPr/>
      </dsp:nvSpPr>
      <dsp:spPr>
        <a:xfrm>
          <a:off x="3459718" y="1780937"/>
          <a:ext cx="2176700" cy="2176700"/>
        </a:xfrm>
        <a:prstGeom prst="gear9">
          <a:avLst/>
        </a:prstGeom>
        <a:solidFill>
          <a:srgbClr val="DC291E"/>
        </a:solidFill>
        <a:ln>
          <a:solidFill>
            <a:srgbClr val="DC291E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Primary Series (K-3)</a:t>
          </a:r>
        </a:p>
      </dsp:txBody>
      <dsp:txXfrm>
        <a:off x="3897332" y="2290819"/>
        <a:ext cx="1301472" cy="1118868"/>
      </dsp:txXfrm>
    </dsp:sp>
    <dsp:sp modelId="{BA58ED2B-2E5C-4E40-9F38-8ECC7C32C647}">
      <dsp:nvSpPr>
        <dsp:cNvPr id="0" name=""/>
        <dsp:cNvSpPr/>
      </dsp:nvSpPr>
      <dsp:spPr>
        <a:xfrm>
          <a:off x="3182683" y="3126534"/>
          <a:ext cx="1385173" cy="8311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DC291E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kern="1200" dirty="0"/>
            <a:t>Rolling Things</a:t>
          </a: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kern="1200" dirty="0"/>
            <a:t>Pinball Designers</a:t>
          </a: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kern="1200" dirty="0"/>
            <a:t>Engineering Inspired By Nature</a:t>
          </a: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kern="1200" dirty="0"/>
            <a:t>Straw Rockets</a:t>
          </a: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kern="1200" dirty="0"/>
            <a:t>Making Music</a:t>
          </a:r>
        </a:p>
      </dsp:txBody>
      <dsp:txXfrm>
        <a:off x="3207025" y="3150876"/>
        <a:ext cx="1336489" cy="782419"/>
      </dsp:txXfrm>
    </dsp:sp>
    <dsp:sp modelId="{8B91FA9D-FDCF-4305-B0C3-808BADC07CF2}">
      <dsp:nvSpPr>
        <dsp:cNvPr id="0" name=""/>
        <dsp:cNvSpPr/>
      </dsp:nvSpPr>
      <dsp:spPr>
        <a:xfrm>
          <a:off x="2193273" y="1266444"/>
          <a:ext cx="1583055" cy="1583055"/>
        </a:xfrm>
        <a:prstGeom prst="gear6">
          <a:avLst/>
        </a:prstGeom>
        <a:solidFill>
          <a:srgbClr val="2EB13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Elementary Series (4 – 6)</a:t>
          </a:r>
        </a:p>
      </dsp:txBody>
      <dsp:txXfrm>
        <a:off x="2591812" y="1667392"/>
        <a:ext cx="785977" cy="781159"/>
      </dsp:txXfrm>
    </dsp:sp>
    <dsp:sp modelId="{CB87C3A8-BB14-457C-AE2E-5C4340AFDEAC}">
      <dsp:nvSpPr>
        <dsp:cNvPr id="0" name=""/>
        <dsp:cNvSpPr/>
      </dsp:nvSpPr>
      <dsp:spPr>
        <a:xfrm>
          <a:off x="1676405" y="2286001"/>
          <a:ext cx="1232762" cy="6928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2EB135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kern="1200" dirty="0"/>
            <a:t>Skimmer</a:t>
          </a: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kern="1200" dirty="0" err="1"/>
            <a:t>JetToy</a:t>
          </a:r>
          <a:endParaRPr lang="en-US" sz="700" kern="1200" dirty="0"/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kern="1200" dirty="0"/>
            <a:t>Gravity Cruiser</a:t>
          </a: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i="0" kern="1200" dirty="0"/>
            <a:t>Programming Each Other</a:t>
          </a:r>
        </a:p>
      </dsp:txBody>
      <dsp:txXfrm>
        <a:off x="1696699" y="2306295"/>
        <a:ext cx="1192174" cy="652311"/>
      </dsp:txXfrm>
    </dsp:sp>
    <dsp:sp modelId="{7EC70AD3-50F3-4B2D-872E-6A66AD319C4E}">
      <dsp:nvSpPr>
        <dsp:cNvPr id="0" name=""/>
        <dsp:cNvSpPr/>
      </dsp:nvSpPr>
      <dsp:spPr>
        <a:xfrm rot="20700000">
          <a:off x="3079946" y="174297"/>
          <a:ext cx="1551070" cy="1551070"/>
        </a:xfrm>
        <a:prstGeom prst="gear6">
          <a:avLst/>
        </a:prstGeom>
        <a:solidFill>
          <a:srgbClr val="01A0E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Middle School Series (6 – 8)</a:t>
          </a:r>
        </a:p>
      </dsp:txBody>
      <dsp:txXfrm rot="-20700000">
        <a:off x="3420141" y="514492"/>
        <a:ext cx="870680" cy="870680"/>
      </dsp:txXfrm>
    </dsp:sp>
    <dsp:sp modelId="{4F948FB1-E391-4932-BA0F-0E1F5BB8A57B}">
      <dsp:nvSpPr>
        <dsp:cNvPr id="0" name=""/>
        <dsp:cNvSpPr/>
      </dsp:nvSpPr>
      <dsp:spPr>
        <a:xfrm>
          <a:off x="4343401" y="533400"/>
          <a:ext cx="1385173" cy="8311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1A0E9"/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kern="1200" dirty="0"/>
            <a:t>Gravity Cruiser</a:t>
          </a: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kern="1200" dirty="0"/>
            <a:t>Glider</a:t>
          </a: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kern="1200" dirty="0"/>
            <a:t>Motorized Toy Car</a:t>
          </a: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kern="1200" dirty="0"/>
            <a:t>Fuel Cell</a:t>
          </a:r>
        </a:p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700" kern="1200" dirty="0"/>
            <a:t>Cybersecurity: Keeping Our Networks Secure</a:t>
          </a:r>
        </a:p>
      </dsp:txBody>
      <dsp:txXfrm>
        <a:off x="4367743" y="557742"/>
        <a:ext cx="1336489" cy="782419"/>
      </dsp:txXfrm>
    </dsp:sp>
    <dsp:sp modelId="{85513C9C-4DC2-46A3-A4CE-3A409E8A13A3}">
      <dsp:nvSpPr>
        <dsp:cNvPr id="0" name=""/>
        <dsp:cNvSpPr/>
      </dsp:nvSpPr>
      <dsp:spPr>
        <a:xfrm>
          <a:off x="3289767" y="1453940"/>
          <a:ext cx="2786177" cy="2786177"/>
        </a:xfrm>
        <a:prstGeom prst="circularArrow">
          <a:avLst>
            <a:gd name="adj1" fmla="val 4687"/>
            <a:gd name="adj2" fmla="val 299029"/>
            <a:gd name="adj3" fmla="val 2510368"/>
            <a:gd name="adj4" fmla="val 15873823"/>
            <a:gd name="adj5" fmla="val 5469"/>
          </a:avLst>
        </a:prstGeom>
        <a:solidFill>
          <a:srgbClr val="DC291E"/>
        </a:solidFill>
        <a:ln>
          <a:solidFill>
            <a:srgbClr val="FF0000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B934D2E4-C675-47EC-B84F-1F94214DD292}">
      <dsp:nvSpPr>
        <dsp:cNvPr id="0" name=""/>
        <dsp:cNvSpPr/>
      </dsp:nvSpPr>
      <dsp:spPr>
        <a:xfrm>
          <a:off x="1912917" y="917189"/>
          <a:ext cx="2024331" cy="202433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2EB13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9A14885-B033-4937-AE12-563F51C7C35E}">
      <dsp:nvSpPr>
        <dsp:cNvPr id="0" name=""/>
        <dsp:cNvSpPr/>
      </dsp:nvSpPr>
      <dsp:spPr>
        <a:xfrm>
          <a:off x="2721167" y="-164429"/>
          <a:ext cx="2182637" cy="2182637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01A0E9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9CF699-1C1C-4A16-9D31-C8B6CCA8533E}">
      <dsp:nvSpPr>
        <dsp:cNvPr id="0" name=""/>
        <dsp:cNvSpPr/>
      </dsp:nvSpPr>
      <dsp:spPr>
        <a:xfrm>
          <a:off x="3433988" y="1277"/>
          <a:ext cx="1199483" cy="779664"/>
        </a:xfrm>
        <a:prstGeom prst="roundRect">
          <a:avLst/>
        </a:prstGeom>
        <a:solidFill>
          <a:srgbClr val="9A9B9D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Critical Thinking</a:t>
          </a:r>
          <a:endParaRPr lang="en-US" sz="1000" kern="1200" dirty="0"/>
        </a:p>
      </dsp:txBody>
      <dsp:txXfrm>
        <a:off x="3472048" y="39337"/>
        <a:ext cx="1123363" cy="703544"/>
      </dsp:txXfrm>
    </dsp:sp>
    <dsp:sp modelId="{9A3F0400-C7DA-4A52-AFA0-33489CE48D02}">
      <dsp:nvSpPr>
        <dsp:cNvPr id="0" name=""/>
        <dsp:cNvSpPr/>
      </dsp:nvSpPr>
      <dsp:spPr>
        <a:xfrm>
          <a:off x="2476018" y="391109"/>
          <a:ext cx="3115423" cy="3115423"/>
        </a:xfrm>
        <a:custGeom>
          <a:avLst/>
          <a:gdLst/>
          <a:ahLst/>
          <a:cxnLst/>
          <a:rect l="0" t="0" r="0" b="0"/>
          <a:pathLst>
            <a:path>
              <a:moveTo>
                <a:pt x="2165693" y="123548"/>
              </a:moveTo>
              <a:arcTo wR="1557711" hR="1557711" stAng="17578407" swAng="1961518"/>
            </a:path>
          </a:pathLst>
        </a:custGeom>
        <a:noFill/>
        <a:ln w="25400" cap="flat" cmpd="sng" algn="ctr">
          <a:solidFill>
            <a:srgbClr val="005195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dsp:style>
    </dsp:sp>
    <dsp:sp modelId="{FDFD6F74-A702-4EBC-B518-ED7DA6CD21EB}">
      <dsp:nvSpPr>
        <dsp:cNvPr id="0" name=""/>
        <dsp:cNvSpPr/>
      </dsp:nvSpPr>
      <dsp:spPr>
        <a:xfrm>
          <a:off x="4915460" y="1077630"/>
          <a:ext cx="1199483" cy="779664"/>
        </a:xfrm>
        <a:prstGeom prst="roundRect">
          <a:avLst/>
        </a:prstGeom>
        <a:solidFill>
          <a:srgbClr val="9A9B9D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Inquiry &amp; Analysis</a:t>
          </a:r>
          <a:endParaRPr lang="en-US" sz="1000" kern="1200" dirty="0"/>
        </a:p>
      </dsp:txBody>
      <dsp:txXfrm>
        <a:off x="4953520" y="1115690"/>
        <a:ext cx="1123363" cy="703544"/>
      </dsp:txXfrm>
    </dsp:sp>
    <dsp:sp modelId="{4EC9852E-4D21-4AF9-8FA6-25245C593A7F}">
      <dsp:nvSpPr>
        <dsp:cNvPr id="0" name=""/>
        <dsp:cNvSpPr/>
      </dsp:nvSpPr>
      <dsp:spPr>
        <a:xfrm>
          <a:off x="2476018" y="391109"/>
          <a:ext cx="3115423" cy="3115423"/>
        </a:xfrm>
        <a:custGeom>
          <a:avLst/>
          <a:gdLst/>
          <a:ahLst/>
          <a:cxnLst/>
          <a:rect l="0" t="0" r="0" b="0"/>
          <a:pathLst>
            <a:path>
              <a:moveTo>
                <a:pt x="3113286" y="1476141"/>
              </a:moveTo>
              <a:arcTo wR="1557711" hR="1557711" stAng="21419899" swAng="2196288"/>
            </a:path>
          </a:pathLst>
        </a:custGeom>
        <a:noFill/>
        <a:ln w="25400" cap="flat" cmpd="sng" algn="ctr">
          <a:solidFill>
            <a:srgbClr val="005195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dsp:style>
    </dsp:sp>
    <dsp:sp modelId="{B2488278-9E9A-410D-A7A9-27046318B74C}">
      <dsp:nvSpPr>
        <dsp:cNvPr id="0" name=""/>
        <dsp:cNvSpPr/>
      </dsp:nvSpPr>
      <dsp:spPr>
        <a:xfrm>
          <a:off x="4349588" y="2819204"/>
          <a:ext cx="1199483" cy="779664"/>
        </a:xfrm>
        <a:prstGeom prst="roundRect">
          <a:avLst/>
        </a:prstGeom>
        <a:solidFill>
          <a:srgbClr val="9A9B9D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/>
            <a:t>Teamwork &amp; Collaboration</a:t>
          </a:r>
          <a:endParaRPr lang="en-US" sz="1000" kern="1200"/>
        </a:p>
      </dsp:txBody>
      <dsp:txXfrm>
        <a:off x="4387648" y="2857264"/>
        <a:ext cx="1123363" cy="703544"/>
      </dsp:txXfrm>
    </dsp:sp>
    <dsp:sp modelId="{490BE5B4-8C82-479D-AA69-13937C3F3865}">
      <dsp:nvSpPr>
        <dsp:cNvPr id="0" name=""/>
        <dsp:cNvSpPr/>
      </dsp:nvSpPr>
      <dsp:spPr>
        <a:xfrm>
          <a:off x="2476018" y="391109"/>
          <a:ext cx="3115423" cy="3115423"/>
        </a:xfrm>
        <a:custGeom>
          <a:avLst/>
          <a:gdLst/>
          <a:ahLst/>
          <a:cxnLst/>
          <a:rect l="0" t="0" r="0" b="0"/>
          <a:pathLst>
            <a:path>
              <a:moveTo>
                <a:pt x="1867381" y="3084332"/>
              </a:moveTo>
              <a:arcTo wR="1557711" hR="1557711" stAng="4712000" swAng="1376001"/>
            </a:path>
          </a:pathLst>
        </a:custGeom>
        <a:noFill/>
        <a:ln w="25400" cap="flat" cmpd="sng" algn="ctr">
          <a:solidFill>
            <a:srgbClr val="005195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dsp:style>
    </dsp:sp>
    <dsp:sp modelId="{0B86B399-BEA7-4D61-B86A-092ABEE65E0B}">
      <dsp:nvSpPr>
        <dsp:cNvPr id="0" name=""/>
        <dsp:cNvSpPr/>
      </dsp:nvSpPr>
      <dsp:spPr>
        <a:xfrm>
          <a:off x="2518388" y="2819204"/>
          <a:ext cx="1199483" cy="779664"/>
        </a:xfrm>
        <a:prstGeom prst="roundRect">
          <a:avLst/>
        </a:prstGeom>
        <a:solidFill>
          <a:srgbClr val="9A9B9D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/>
            <a:t>Communication</a:t>
          </a:r>
          <a:endParaRPr lang="en-US" sz="1000" kern="1200"/>
        </a:p>
      </dsp:txBody>
      <dsp:txXfrm>
        <a:off x="2556448" y="2857264"/>
        <a:ext cx="1123363" cy="703544"/>
      </dsp:txXfrm>
    </dsp:sp>
    <dsp:sp modelId="{11B3BC4A-06EC-40F6-BB10-D1E57C8A9757}">
      <dsp:nvSpPr>
        <dsp:cNvPr id="0" name=""/>
        <dsp:cNvSpPr/>
      </dsp:nvSpPr>
      <dsp:spPr>
        <a:xfrm>
          <a:off x="2476018" y="391109"/>
          <a:ext cx="3115423" cy="3115423"/>
        </a:xfrm>
        <a:custGeom>
          <a:avLst/>
          <a:gdLst/>
          <a:ahLst/>
          <a:cxnLst/>
          <a:rect l="0" t="0" r="0" b="0"/>
          <a:pathLst>
            <a:path>
              <a:moveTo>
                <a:pt x="260307" y="2419806"/>
              </a:moveTo>
              <a:arcTo wR="1557711" hR="1557711" stAng="8783814" swAng="2196288"/>
            </a:path>
          </a:pathLst>
        </a:custGeom>
        <a:noFill/>
        <a:ln w="25400" cap="flat" cmpd="sng" algn="ctr">
          <a:solidFill>
            <a:srgbClr val="005195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dsp:style>
    </dsp:sp>
    <dsp:sp modelId="{7E3A80F2-131B-4AD1-BF26-19404E26128E}">
      <dsp:nvSpPr>
        <dsp:cNvPr id="0" name=""/>
        <dsp:cNvSpPr/>
      </dsp:nvSpPr>
      <dsp:spPr>
        <a:xfrm>
          <a:off x="1952516" y="1077630"/>
          <a:ext cx="1199483" cy="779664"/>
        </a:xfrm>
        <a:prstGeom prst="roundRect">
          <a:avLst/>
        </a:prstGeom>
        <a:solidFill>
          <a:srgbClr val="9A9B9D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/>
            <a:t>Project Management</a:t>
          </a:r>
          <a:endParaRPr lang="en-US" sz="1000" kern="1200" dirty="0"/>
        </a:p>
      </dsp:txBody>
      <dsp:txXfrm>
        <a:off x="1990576" y="1115690"/>
        <a:ext cx="1123363" cy="703544"/>
      </dsp:txXfrm>
    </dsp:sp>
    <dsp:sp modelId="{6B0E6D39-4F1E-42B6-8636-D639BFB9EA3C}">
      <dsp:nvSpPr>
        <dsp:cNvPr id="0" name=""/>
        <dsp:cNvSpPr/>
      </dsp:nvSpPr>
      <dsp:spPr>
        <a:xfrm>
          <a:off x="2476018" y="391109"/>
          <a:ext cx="3115423" cy="3115423"/>
        </a:xfrm>
        <a:custGeom>
          <a:avLst/>
          <a:gdLst/>
          <a:ahLst/>
          <a:cxnLst/>
          <a:rect l="0" t="0" r="0" b="0"/>
          <a:pathLst>
            <a:path>
              <a:moveTo>
                <a:pt x="271418" y="679124"/>
              </a:moveTo>
              <a:arcTo wR="1557711" hR="1557711" stAng="12860075" swAng="1961518"/>
            </a:path>
          </a:pathLst>
        </a:custGeom>
        <a:noFill/>
        <a:ln w="25400" cap="flat" cmpd="sng" algn="ctr">
          <a:solidFill>
            <a:srgbClr val="005195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E4DB2C-3BD0-ED4D-B3E5-6A3BDF40A760}" type="datetimeFigureOut">
              <a:rPr lang="en-US" smtClean="0"/>
              <a:t>12/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BBFC25-224D-8F47-8047-E194EEC9B6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62398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901BC3-3D0F-4774-B7D6-DA2F40498026}" type="datetimeFigureOut">
              <a:rPr lang="en-US" smtClean="0"/>
              <a:pPr/>
              <a:t>12/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D4A1DC-1111-4AD5-8D41-B86459B9459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310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document/d/1gySkItxiJn_vwb8HIIKNXqen184mRtzDX12cux0ZgZk/pub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3287168-17F0-445D-AACE-A8A99B4A79A4}" type="slidenum">
              <a:rPr lang="en-US" smtClean="0">
                <a:solidFill>
                  <a:prstClr val="black"/>
                </a:solidFill>
                <a:cs typeface="Arial"/>
              </a:rPr>
              <a:pPr/>
              <a:t>6</a:t>
            </a:fld>
            <a:endParaRPr lang="en-US" dirty="0">
              <a:solidFill>
                <a:prstClr val="black"/>
              </a:solidFill>
              <a:cs typeface="Arial"/>
            </a:endParaRPr>
          </a:p>
        </p:txBody>
      </p:sp>
      <p:sp>
        <p:nvSpPr>
          <p:cNvPr id="187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73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8299" y="4353530"/>
            <a:ext cx="5010887" cy="4127821"/>
          </a:xfrm>
        </p:spPr>
        <p:txBody>
          <a:bodyPr>
            <a:normAutofit/>
          </a:bodyPr>
          <a:lstStyle/>
          <a:p>
            <a:pPr rtl="0" eaLnBrk="1" fontAlgn="ctr" latinLnBrk="0" hangingPunct="1"/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9422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highlight>
                  <a:srgbClr val="FFFF00"/>
                </a:highlight>
                <a:hlinkClick r:id="rId3"/>
              </a:rPr>
              <a:t>https://docs.google.com/document/d/1gySkItxiJn_vwb8HIIKNXqen184mRtzDX12cux0ZgZk/pub</a:t>
            </a:r>
            <a:endParaRPr lang="en-US" b="0" dirty="0">
              <a:highlight>
                <a:srgbClr val="FFFF00"/>
              </a:highlight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D4A1DC-1111-4AD5-8D41-B86459B94599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4557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D4A1DC-1111-4AD5-8D41-B86459B94599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574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ice that the requirements are broad in nature and can be applied to much more than only an autonomous vehicle marketing presenta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ow information flows through the internet – TCP and IP (protocols that programs use to route messages (IP) and to ensure that entire messages are broken into pieces (packets), sent, received, and reassembled (TCP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ow the internet keeps information flowing in case of failure – Reliability of the internet’s architecture to reroute message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ow information is kept secure—both where it is stored and while it is being transmitted – Cryptography, including encryption, KEYS used to decrypt messag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How systems know what information and data can be trusted – PKE (Public key encryption) to securely exchange keys and provide digital signatures for authenticating messages (public and private keys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3EAB7B-6E78-4EBB-A77A-3FE04B43BAE2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1392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ased on time and size of audience, we could do a quick 5-minute simulation here.</a:t>
            </a:r>
          </a:p>
          <a:p>
            <a:endParaRPr lang="en-US" dirty="0"/>
          </a:p>
          <a:p>
            <a:r>
              <a:rPr lang="en-US" dirty="0"/>
              <a:t>Or, show simulations on Online Module – Activities 2 &amp; 3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3EAB7B-6E78-4EBB-A77A-3FE04B43BAE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9411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as anyone heard of or used either of these?  Likely the cipher wheel…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on the scytale for a demonstration video of how to use one.</a:t>
            </a:r>
          </a:p>
          <a:p>
            <a:endParaRPr lang="en-US" dirty="0"/>
          </a:p>
          <a:p>
            <a:r>
              <a:rPr lang="en-US" dirty="0"/>
              <a:t>Have scytales wrapped and ready on each diameter of tube to show that Message 1 only displays correctly on the ¾ diameter tube (KEY)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3EAB7B-6E78-4EBB-A77A-3FE04B43BAE2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60299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int_sae_sg_720_blk_rgb_wht.png"/>
          <p:cNvPicPr>
            <a:picLocks noChangeAspect="1"/>
          </p:cNvPicPr>
          <p:nvPr userDrawn="1"/>
        </p:nvPicPr>
        <p:blipFill>
          <a:blip r:embed="rId2"/>
          <a:srcRect l="1303"/>
          <a:stretch>
            <a:fillRect/>
          </a:stretch>
        </p:blipFill>
        <p:spPr>
          <a:xfrm rot="-5400000">
            <a:off x="5246044" y="1247178"/>
            <a:ext cx="5143500" cy="2649143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 bwMode="hidden">
          <a:xfrm>
            <a:off x="0" y="-1"/>
            <a:ext cx="9144000" cy="5143501"/>
            <a:chOff x="0" y="-1"/>
            <a:chExt cx="9144000" cy="5143501"/>
          </a:xfrm>
        </p:grpSpPr>
        <p:sp>
          <p:nvSpPr>
            <p:cNvPr id="8" name="Rectangle 7"/>
            <p:cNvSpPr/>
            <p:nvPr userDrawn="1"/>
          </p:nvSpPr>
          <p:spPr bwMode="hidden">
            <a:xfrm>
              <a:off x="0" y="0"/>
              <a:ext cx="9144000" cy="5143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 descr="int_sae_sg_720_dbl_rgb_wht.png"/>
            <p:cNvPicPr>
              <a:picLocks noChangeAspect="1"/>
            </p:cNvPicPr>
            <p:nvPr userDrawn="1"/>
          </p:nvPicPr>
          <p:blipFill>
            <a:blip r:embed="rId3" cstate="print"/>
            <a:srcRect l="1818"/>
            <a:stretch>
              <a:fillRect/>
            </a:stretch>
          </p:blipFill>
          <p:spPr bwMode="hidden">
            <a:xfrm rot="16200000">
              <a:off x="5238750" y="1238448"/>
              <a:ext cx="5143501" cy="266660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95350"/>
            <a:ext cx="5559552" cy="940274"/>
          </a:xfrm>
        </p:spPr>
        <p:txBody>
          <a:bodyPr anchor="b"/>
          <a:lstStyle>
            <a:lvl1pPr>
              <a:defRPr sz="2100" cap="all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57200" y="438912"/>
            <a:ext cx="5559552" cy="3017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latin typeface="+mj-lt"/>
              </a:rPr>
              <a:t>SAE INTERNATIONA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1883391"/>
            <a:ext cx="5562600" cy="2691783"/>
          </a:xfrm>
        </p:spPr>
        <p:txBody>
          <a:bodyPr>
            <a:noAutofit/>
          </a:bodyPr>
          <a:lstStyle>
            <a:lvl1pPr marL="0" indent="0" algn="l">
              <a:buNone/>
              <a:defRPr sz="2100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 sz="2100">
                <a:solidFill>
                  <a:schemeClr val="accent1"/>
                </a:solidFill>
              </a:defRPr>
            </a:lvl2pPr>
            <a:lvl3pPr marL="0" indent="0" algn="l">
              <a:buNone/>
              <a:defRPr sz="2100">
                <a:solidFill>
                  <a:schemeClr val="accent1"/>
                </a:solidFill>
              </a:defRPr>
            </a:lvl3pPr>
            <a:lvl4pPr marL="0" indent="0" algn="l">
              <a:buNone/>
              <a:defRPr sz="2100">
                <a:solidFill>
                  <a:schemeClr val="accent1"/>
                </a:solidFill>
              </a:defRPr>
            </a:lvl4pPr>
            <a:lvl5pPr marL="0" indent="0" algn="l">
              <a:buNone/>
              <a:tabLst/>
              <a:defRPr sz="2100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100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100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100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1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sz="2100" dirty="0"/>
              <a:t>Click to edit subhead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2286000" y="4917073"/>
            <a:ext cx="4572000" cy="1692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/>
            <a:r>
              <a:rPr lang="en-US" sz="5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Copyright © SAE International.  Further use or distribution is not permitted without permission from SAE</a:t>
            </a:r>
            <a:endParaRPr lang="en-US" sz="5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e-thir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17"/>
          <p:cNvSpPr/>
          <p:nvPr userDrawn="1"/>
        </p:nvSpPr>
        <p:spPr bwMode="hidden">
          <a:xfrm>
            <a:off x="0" y="295748"/>
            <a:ext cx="9144000" cy="48477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000" h="4847753">
                <a:moveTo>
                  <a:pt x="0" y="4847753"/>
                </a:moveTo>
                <a:lnTo>
                  <a:pt x="9144000" y="4847753"/>
                </a:lnTo>
                <a:lnTo>
                  <a:pt x="9144000" y="0"/>
                </a:lnTo>
                <a:lnTo>
                  <a:pt x="8872396" y="464744"/>
                </a:lnTo>
                <a:lnTo>
                  <a:pt x="0" y="463205"/>
                </a:lnTo>
                <a:lnTo>
                  <a:pt x="0" y="48477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57200" y="911224"/>
            <a:ext cx="2651760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3246120" y="911224"/>
            <a:ext cx="5440680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05934"/>
            <a:ext cx="2895600" cy="128016"/>
          </a:xfrm>
        </p:spPr>
        <p:txBody>
          <a:bodyPr/>
          <a:lstStyle/>
          <a:p>
            <a:r>
              <a:rPr lang="en-US" dirty="0"/>
              <a:t>FOOTER CHANGED UNDER INSERT&gt;HEADER &amp; FOOTER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805934"/>
            <a:ext cx="2133600" cy="128016"/>
          </a:xfrm>
        </p:spPr>
        <p:txBody>
          <a:bodyPr/>
          <a:lstStyle/>
          <a:p>
            <a:fld id="{C5A2E38E-3676-4AC9-AE40-117CF2D4B3A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760214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457200" y="4805934"/>
            <a:ext cx="213055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kern="1200" cap="all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E INTERNATIONAL</a:t>
            </a:r>
            <a:r>
              <a:rPr lang="en-US" sz="800" b="1" kern="1200" cap="all" baseline="30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®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286000" y="4917073"/>
            <a:ext cx="4572000" cy="1692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/>
            <a:r>
              <a:rPr lang="en-US" sz="5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Copyright © SAE International.  Further use or distribution is not permitted without permission from SAE</a:t>
            </a:r>
            <a:endParaRPr lang="en-US" sz="5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 Columns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 bwMode="hidden">
          <a:xfrm>
            <a:off x="0" y="295748"/>
            <a:ext cx="9144000" cy="48477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000" h="4847753">
                <a:moveTo>
                  <a:pt x="0" y="4847753"/>
                </a:moveTo>
                <a:lnTo>
                  <a:pt x="9144000" y="4847753"/>
                </a:lnTo>
                <a:lnTo>
                  <a:pt x="9144000" y="0"/>
                </a:lnTo>
                <a:lnTo>
                  <a:pt x="8872396" y="464744"/>
                </a:lnTo>
                <a:lnTo>
                  <a:pt x="0" y="463205"/>
                </a:lnTo>
                <a:lnTo>
                  <a:pt x="0" y="48477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57200" y="911224"/>
            <a:ext cx="4050792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636008" y="911224"/>
            <a:ext cx="4050792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05934"/>
            <a:ext cx="2895600" cy="128016"/>
          </a:xfrm>
        </p:spPr>
        <p:txBody>
          <a:bodyPr/>
          <a:lstStyle/>
          <a:p>
            <a:r>
              <a:rPr lang="en-US" dirty="0"/>
              <a:t>FOOTER CHANGED UNDER INSERT&gt;HEADER &amp; FOOTER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805934"/>
            <a:ext cx="2133600" cy="128016"/>
          </a:xfrm>
        </p:spPr>
        <p:txBody>
          <a:bodyPr/>
          <a:lstStyle/>
          <a:p>
            <a:fld id="{C5A2E38E-3676-4AC9-AE40-117CF2D4B3A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57200" y="4760214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457200" y="4805934"/>
            <a:ext cx="213055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kern="1200" cap="all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E INTERNATIONAL</a:t>
            </a:r>
            <a:r>
              <a:rPr lang="en-US" sz="800" b="1" kern="1200" cap="all" baseline="30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®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286000" y="4917073"/>
            <a:ext cx="4572000" cy="1692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/>
            <a:r>
              <a:rPr lang="en-US" sz="5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Copyright © SAE International.  Further use or distribution is not permitted without permission from SAE</a:t>
            </a:r>
            <a:endParaRPr lang="en-US" sz="5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wo-thirds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 bwMode="hidden">
          <a:xfrm>
            <a:off x="0" y="295748"/>
            <a:ext cx="9144000" cy="48477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000" h="4847753">
                <a:moveTo>
                  <a:pt x="0" y="4847753"/>
                </a:moveTo>
                <a:lnTo>
                  <a:pt x="9144000" y="4847753"/>
                </a:lnTo>
                <a:lnTo>
                  <a:pt x="9144000" y="0"/>
                </a:lnTo>
                <a:lnTo>
                  <a:pt x="8872396" y="464744"/>
                </a:lnTo>
                <a:lnTo>
                  <a:pt x="0" y="463205"/>
                </a:lnTo>
                <a:lnTo>
                  <a:pt x="0" y="48477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57200" y="911224"/>
            <a:ext cx="5440680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035040" y="911224"/>
            <a:ext cx="2651760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05934"/>
            <a:ext cx="2895600" cy="128016"/>
          </a:xfrm>
        </p:spPr>
        <p:txBody>
          <a:bodyPr/>
          <a:lstStyle/>
          <a:p>
            <a:r>
              <a:rPr lang="en-US" dirty="0"/>
              <a:t>FOOTER CHANGED UNDER INSERT&gt;HEADER &amp; FOOTER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6553200" y="4805934"/>
            <a:ext cx="2133600" cy="128016"/>
          </a:xfrm>
        </p:spPr>
        <p:txBody>
          <a:bodyPr/>
          <a:lstStyle/>
          <a:p>
            <a:fld id="{C5A2E38E-3676-4AC9-AE40-117CF2D4B3A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57200" y="4760214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457200" y="4805934"/>
            <a:ext cx="213055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kern="1200" cap="all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E INTERNATIONAL</a:t>
            </a:r>
            <a:r>
              <a:rPr lang="en-US" sz="800" b="1" kern="1200" cap="all" baseline="30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®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2286000" y="4917073"/>
            <a:ext cx="4572000" cy="1692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/>
            <a:r>
              <a:rPr lang="en-US" sz="5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Copyright © SAE International.  Further use or distribution is not permitted without permission from SAE</a:t>
            </a:r>
            <a:endParaRPr lang="en-US" sz="5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 userDrawn="1"/>
        </p:nvSpPr>
        <p:spPr bwMode="hidden">
          <a:xfrm>
            <a:off x="0" y="295748"/>
            <a:ext cx="9144000" cy="48477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000" h="4847753">
                <a:moveTo>
                  <a:pt x="0" y="4847753"/>
                </a:moveTo>
                <a:lnTo>
                  <a:pt x="9144000" y="4847753"/>
                </a:lnTo>
                <a:lnTo>
                  <a:pt x="9144000" y="0"/>
                </a:lnTo>
                <a:lnTo>
                  <a:pt x="8872396" y="464744"/>
                </a:lnTo>
                <a:lnTo>
                  <a:pt x="0" y="463205"/>
                </a:lnTo>
                <a:lnTo>
                  <a:pt x="0" y="48477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3" hasCustomPrompt="1"/>
          </p:nvPr>
        </p:nvSpPr>
        <p:spPr>
          <a:xfrm>
            <a:off x="457200" y="914400"/>
            <a:ext cx="2651760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4" hasCustomPrompt="1"/>
          </p:nvPr>
        </p:nvSpPr>
        <p:spPr>
          <a:xfrm>
            <a:off x="3246120" y="914400"/>
            <a:ext cx="2651760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5" hasCustomPrompt="1"/>
          </p:nvPr>
        </p:nvSpPr>
        <p:spPr>
          <a:xfrm>
            <a:off x="6035040" y="914400"/>
            <a:ext cx="2651760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05934"/>
            <a:ext cx="2895600" cy="128016"/>
          </a:xfrm>
        </p:spPr>
        <p:txBody>
          <a:bodyPr/>
          <a:lstStyle/>
          <a:p>
            <a:r>
              <a:rPr lang="en-US" dirty="0"/>
              <a:t>FOOTER CHANGED UNDER INSERT&gt;HEADER &amp; FOOTER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805934"/>
            <a:ext cx="2133600" cy="128016"/>
          </a:xfrm>
        </p:spPr>
        <p:txBody>
          <a:bodyPr/>
          <a:lstStyle/>
          <a:p>
            <a:fld id="{C5A2E38E-3676-4AC9-AE40-117CF2D4B3A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57200" y="4760214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457200" y="4805934"/>
            <a:ext cx="213055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kern="1200" cap="all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E INTERNATIONAL</a:t>
            </a:r>
            <a:r>
              <a:rPr lang="en-US" sz="800" b="1" kern="1200" cap="all" baseline="30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®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2286000" y="4917073"/>
            <a:ext cx="4572000" cy="1692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/>
            <a:r>
              <a:rPr lang="en-US" sz="5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Copyright © SAE International.  Further use or distribution is not permitted without permission from SAE</a:t>
            </a:r>
            <a:endParaRPr lang="en-US" sz="5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ottom Two Columns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 userDrawn="1"/>
        </p:nvSpPr>
        <p:spPr bwMode="hidden">
          <a:xfrm>
            <a:off x="0" y="295748"/>
            <a:ext cx="9144000" cy="48477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000" h="4847753">
                <a:moveTo>
                  <a:pt x="0" y="4847753"/>
                </a:moveTo>
                <a:lnTo>
                  <a:pt x="9144000" y="4847753"/>
                </a:lnTo>
                <a:lnTo>
                  <a:pt x="9144000" y="0"/>
                </a:lnTo>
                <a:lnTo>
                  <a:pt x="8872396" y="464744"/>
                </a:lnTo>
                <a:lnTo>
                  <a:pt x="0" y="463205"/>
                </a:lnTo>
                <a:lnTo>
                  <a:pt x="0" y="48477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911225"/>
            <a:ext cx="8229600" cy="125590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457200" y="2286000"/>
            <a:ext cx="4050792" cy="228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4" hasCustomPrompt="1"/>
          </p:nvPr>
        </p:nvSpPr>
        <p:spPr>
          <a:xfrm>
            <a:off x="4636008" y="2286000"/>
            <a:ext cx="4050792" cy="228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05934"/>
            <a:ext cx="2895600" cy="128016"/>
          </a:xfrm>
        </p:spPr>
        <p:txBody>
          <a:bodyPr/>
          <a:lstStyle/>
          <a:p>
            <a:r>
              <a:rPr lang="en-US" dirty="0"/>
              <a:t>FOOTER CHANGED UNDER INSERT&gt;HEADER &amp; FOOTER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805934"/>
            <a:ext cx="2133600" cy="128016"/>
          </a:xfrm>
        </p:spPr>
        <p:txBody>
          <a:bodyPr/>
          <a:lstStyle/>
          <a:p>
            <a:fld id="{C5A2E38E-3676-4AC9-AE40-117CF2D4B3A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200" y="4760214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457200" y="4805934"/>
            <a:ext cx="213055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kern="1200" cap="all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E INTERNATIONAL</a:t>
            </a:r>
            <a:r>
              <a:rPr lang="en-US" sz="800" b="1" kern="1200" cap="all" baseline="30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®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2286000" y="4917073"/>
            <a:ext cx="4572000" cy="1692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/>
            <a:r>
              <a:rPr lang="en-US" sz="5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Copyright © SAE International.  Further use or distribution is not permitted without permission from SAE</a:t>
            </a:r>
            <a:endParaRPr lang="en-US" sz="5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Bottom Three Columns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 userDrawn="1"/>
        </p:nvSpPr>
        <p:spPr bwMode="hidden">
          <a:xfrm>
            <a:off x="0" y="295748"/>
            <a:ext cx="9144000" cy="48477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000" h="4847753">
                <a:moveTo>
                  <a:pt x="0" y="4847753"/>
                </a:moveTo>
                <a:lnTo>
                  <a:pt x="9144000" y="4847753"/>
                </a:lnTo>
                <a:lnTo>
                  <a:pt x="9144000" y="0"/>
                </a:lnTo>
                <a:lnTo>
                  <a:pt x="8872396" y="464744"/>
                </a:lnTo>
                <a:lnTo>
                  <a:pt x="0" y="463205"/>
                </a:lnTo>
                <a:lnTo>
                  <a:pt x="0" y="48477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911225"/>
            <a:ext cx="8229600" cy="15843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3" hasCustomPrompt="1"/>
          </p:nvPr>
        </p:nvSpPr>
        <p:spPr>
          <a:xfrm>
            <a:off x="457200" y="2606040"/>
            <a:ext cx="2651760" cy="19659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4" hasCustomPrompt="1"/>
          </p:nvPr>
        </p:nvSpPr>
        <p:spPr>
          <a:xfrm>
            <a:off x="3246120" y="2606040"/>
            <a:ext cx="2651760" cy="19659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5" hasCustomPrompt="1"/>
          </p:nvPr>
        </p:nvSpPr>
        <p:spPr>
          <a:xfrm>
            <a:off x="6035040" y="2606040"/>
            <a:ext cx="2651760" cy="19659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05934"/>
            <a:ext cx="2895600" cy="128016"/>
          </a:xfrm>
        </p:spPr>
        <p:txBody>
          <a:bodyPr/>
          <a:lstStyle/>
          <a:p>
            <a:r>
              <a:rPr lang="en-US" dirty="0"/>
              <a:t>FOOTER CHANGED UNDER INSERT&gt;HEADER &amp; FOOTER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805934"/>
            <a:ext cx="2133600" cy="128016"/>
          </a:xfrm>
        </p:spPr>
        <p:txBody>
          <a:bodyPr/>
          <a:lstStyle/>
          <a:p>
            <a:fld id="{C5A2E38E-3676-4AC9-AE40-117CF2D4B3A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57200" y="4760214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457200" y="4805934"/>
            <a:ext cx="213055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kern="1200" cap="all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E INTERNATIONAL</a:t>
            </a:r>
            <a:r>
              <a:rPr lang="en-US" sz="800" b="1" kern="1200" cap="all" baseline="30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®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2286000" y="4917073"/>
            <a:ext cx="4572000" cy="1692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/>
            <a:r>
              <a:rPr lang="en-US" sz="5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Copyright © SAE International.  Further use or distribution is not permitted without permission from SAE</a:t>
            </a:r>
            <a:endParaRPr lang="en-US" sz="5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lumns with Captions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 userDrawn="1"/>
        </p:nvSpPr>
        <p:spPr bwMode="hidden">
          <a:xfrm>
            <a:off x="0" y="295748"/>
            <a:ext cx="9144000" cy="48477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000" h="4847753">
                <a:moveTo>
                  <a:pt x="0" y="4847753"/>
                </a:moveTo>
                <a:lnTo>
                  <a:pt x="9144000" y="4847753"/>
                </a:lnTo>
                <a:lnTo>
                  <a:pt x="9144000" y="0"/>
                </a:lnTo>
                <a:lnTo>
                  <a:pt x="8872396" y="464744"/>
                </a:lnTo>
                <a:lnTo>
                  <a:pt x="0" y="463205"/>
                </a:lnTo>
                <a:lnTo>
                  <a:pt x="0" y="48477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3" hasCustomPrompt="1"/>
          </p:nvPr>
        </p:nvSpPr>
        <p:spPr>
          <a:xfrm>
            <a:off x="457200" y="914400"/>
            <a:ext cx="2651760" cy="12801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4" hasCustomPrompt="1"/>
          </p:nvPr>
        </p:nvSpPr>
        <p:spPr>
          <a:xfrm>
            <a:off x="3246120" y="914400"/>
            <a:ext cx="2651760" cy="12801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5" hasCustomPrompt="1"/>
          </p:nvPr>
        </p:nvSpPr>
        <p:spPr>
          <a:xfrm>
            <a:off x="6035040" y="914400"/>
            <a:ext cx="2651760" cy="12801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510790"/>
            <a:ext cx="2651760" cy="365760"/>
          </a:xfrm>
        </p:spPr>
        <p:txBody>
          <a:bodyPr/>
          <a:lstStyle>
            <a:lvl1pPr marL="0" indent="0">
              <a:buFont typeface="Arial" pitchFamily="34" charset="0"/>
              <a:buNone/>
              <a:defRPr sz="1000" b="0"/>
            </a:lvl1pPr>
            <a:lvl2pPr marL="0" indent="0">
              <a:buFont typeface="Arial" pitchFamily="34" charset="0"/>
              <a:buNone/>
              <a:defRPr sz="1000" b="0"/>
            </a:lvl2pPr>
            <a:lvl3pPr marL="0" indent="0">
              <a:buNone/>
              <a:defRPr sz="1000" b="0"/>
            </a:lvl3pPr>
            <a:lvl4pPr marL="0" indent="0">
              <a:buNone/>
              <a:defRPr sz="1000" b="0"/>
            </a:lvl4pPr>
            <a:lvl5pPr marL="0" indent="0">
              <a:buNone/>
              <a:defRPr sz="1000" b="0"/>
            </a:lvl5pPr>
            <a:lvl6pPr marL="0" indent="0">
              <a:buNone/>
              <a:defRPr sz="1000"/>
            </a:lvl6pPr>
            <a:lvl8pPr marL="0" indent="0">
              <a:buNone/>
              <a:defRPr sz="1000"/>
            </a:lvl8pPr>
            <a:lvl9pPr marL="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3246120" y="2510790"/>
            <a:ext cx="2651760" cy="365760"/>
          </a:xfrm>
        </p:spPr>
        <p:txBody>
          <a:bodyPr/>
          <a:lstStyle>
            <a:lvl1pPr marL="0" indent="0">
              <a:buFont typeface="Arial" pitchFamily="34" charset="0"/>
              <a:buNone/>
              <a:defRPr sz="1000" b="0"/>
            </a:lvl1pPr>
            <a:lvl2pPr marL="0" indent="0">
              <a:buFont typeface="Arial" pitchFamily="34" charset="0"/>
              <a:buNone/>
              <a:defRPr sz="1000" b="0"/>
            </a:lvl2pPr>
            <a:lvl3pPr marL="0" indent="0">
              <a:buNone/>
              <a:defRPr sz="1000" b="0"/>
            </a:lvl3pPr>
            <a:lvl4pPr marL="0" indent="0">
              <a:buNone/>
              <a:defRPr sz="1000" b="0"/>
            </a:lvl4pPr>
            <a:lvl5pPr marL="0" indent="0">
              <a:buNone/>
              <a:defRPr sz="1000" b="0"/>
            </a:lvl5pPr>
            <a:lvl6pPr marL="0" indent="0">
              <a:buNone/>
              <a:defRPr sz="1000"/>
            </a:lvl6pPr>
            <a:lvl8pPr marL="0" indent="0">
              <a:buNone/>
              <a:defRPr sz="1000"/>
            </a:lvl8pPr>
            <a:lvl9pPr marL="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6035040" y="2510790"/>
            <a:ext cx="2651760" cy="365760"/>
          </a:xfrm>
        </p:spPr>
        <p:txBody>
          <a:bodyPr/>
          <a:lstStyle>
            <a:lvl1pPr marL="0" indent="0">
              <a:buFont typeface="Arial" pitchFamily="34" charset="0"/>
              <a:buNone/>
              <a:defRPr sz="1000" b="0"/>
            </a:lvl1pPr>
            <a:lvl2pPr marL="0" indent="0">
              <a:buFont typeface="Arial" pitchFamily="34" charset="0"/>
              <a:buNone/>
              <a:defRPr sz="1000" b="0"/>
            </a:lvl2pPr>
            <a:lvl3pPr marL="0" indent="0">
              <a:buNone/>
              <a:defRPr sz="1000" b="0"/>
            </a:lvl3pPr>
            <a:lvl4pPr marL="0" indent="0">
              <a:buNone/>
              <a:defRPr sz="1000" b="0"/>
            </a:lvl4pPr>
            <a:lvl5pPr marL="0" indent="0">
              <a:buNone/>
              <a:defRPr sz="1000" b="0"/>
            </a:lvl5pPr>
            <a:lvl6pPr marL="0" indent="0">
              <a:buNone/>
              <a:defRPr sz="1000"/>
            </a:lvl6pPr>
            <a:lvl8pPr marL="0" indent="0">
              <a:buNone/>
              <a:defRPr sz="1000"/>
            </a:lvl8pPr>
            <a:lvl9pPr marL="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57200" y="2854139"/>
            <a:ext cx="2651760" cy="12801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3246120" y="2854139"/>
            <a:ext cx="2651760" cy="12801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0"/>
          <p:cNvSpPr>
            <a:spLocks noGrp="1"/>
          </p:cNvSpPr>
          <p:nvPr>
            <p:ph sz="quarter" idx="21" hasCustomPrompt="1"/>
          </p:nvPr>
        </p:nvSpPr>
        <p:spPr>
          <a:xfrm>
            <a:off x="6035040" y="2854139"/>
            <a:ext cx="2651760" cy="12801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4491990"/>
            <a:ext cx="2651760" cy="365760"/>
          </a:xfrm>
        </p:spPr>
        <p:txBody>
          <a:bodyPr/>
          <a:lstStyle>
            <a:lvl1pPr marL="0" indent="0">
              <a:buFont typeface="Arial" pitchFamily="34" charset="0"/>
              <a:buNone/>
              <a:defRPr sz="1000" b="0"/>
            </a:lvl1pPr>
            <a:lvl2pPr marL="0" indent="0">
              <a:buFont typeface="Arial" pitchFamily="34" charset="0"/>
              <a:buNone/>
              <a:defRPr sz="1000" b="0"/>
            </a:lvl2pPr>
            <a:lvl3pPr marL="0" indent="0">
              <a:buNone/>
              <a:defRPr sz="1000" b="0"/>
            </a:lvl3pPr>
            <a:lvl4pPr marL="0" indent="0">
              <a:buNone/>
              <a:defRPr sz="1000" b="0"/>
            </a:lvl4pPr>
            <a:lvl5pPr marL="0" indent="0">
              <a:buNone/>
              <a:defRPr sz="1000" b="0"/>
            </a:lvl5pPr>
            <a:lvl6pPr marL="0" indent="0">
              <a:buNone/>
              <a:defRPr sz="1000"/>
            </a:lvl6pPr>
            <a:lvl8pPr marL="0" indent="0">
              <a:buNone/>
              <a:defRPr sz="1000"/>
            </a:lvl8pPr>
            <a:lvl9pPr marL="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23" hasCustomPrompt="1"/>
          </p:nvPr>
        </p:nvSpPr>
        <p:spPr>
          <a:xfrm>
            <a:off x="3246120" y="4491990"/>
            <a:ext cx="2651760" cy="365760"/>
          </a:xfrm>
        </p:spPr>
        <p:txBody>
          <a:bodyPr/>
          <a:lstStyle>
            <a:lvl1pPr marL="0" indent="0">
              <a:buFont typeface="Arial" pitchFamily="34" charset="0"/>
              <a:buNone/>
              <a:defRPr sz="1000" b="0"/>
            </a:lvl1pPr>
            <a:lvl2pPr marL="0" indent="0">
              <a:buFont typeface="Arial" pitchFamily="34" charset="0"/>
              <a:buNone/>
              <a:defRPr sz="1000" b="0"/>
            </a:lvl2pPr>
            <a:lvl3pPr marL="0" indent="0">
              <a:buNone/>
              <a:defRPr sz="1000" b="0"/>
            </a:lvl3pPr>
            <a:lvl4pPr marL="0" indent="0">
              <a:buNone/>
              <a:defRPr sz="1000" b="0"/>
            </a:lvl4pPr>
            <a:lvl5pPr marL="0" indent="0">
              <a:buNone/>
              <a:defRPr sz="1000" b="0"/>
            </a:lvl5pPr>
            <a:lvl6pPr marL="0" indent="0">
              <a:buNone/>
              <a:defRPr sz="1000"/>
            </a:lvl6pPr>
            <a:lvl8pPr marL="0" indent="0">
              <a:buNone/>
              <a:defRPr sz="1000"/>
            </a:lvl8pPr>
            <a:lvl9pPr marL="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6035040" y="4491990"/>
            <a:ext cx="2651760" cy="365760"/>
          </a:xfrm>
        </p:spPr>
        <p:txBody>
          <a:bodyPr/>
          <a:lstStyle>
            <a:lvl1pPr marL="0" indent="0">
              <a:buFont typeface="Arial" pitchFamily="34" charset="0"/>
              <a:buNone/>
              <a:defRPr sz="1000" b="0"/>
            </a:lvl1pPr>
            <a:lvl2pPr marL="0" indent="0">
              <a:buFont typeface="Arial" pitchFamily="34" charset="0"/>
              <a:buNone/>
              <a:defRPr sz="1000" b="0"/>
            </a:lvl2pPr>
            <a:lvl3pPr marL="0" indent="0">
              <a:buNone/>
              <a:defRPr sz="1000" b="0"/>
            </a:lvl3pPr>
            <a:lvl4pPr marL="0" indent="0">
              <a:buNone/>
              <a:defRPr sz="1000" b="0"/>
            </a:lvl4pPr>
            <a:lvl5pPr marL="0" indent="0">
              <a:buNone/>
              <a:defRPr sz="1000" b="0"/>
            </a:lvl5pPr>
            <a:lvl6pPr marL="0" indent="0">
              <a:buNone/>
              <a:defRPr sz="1000"/>
            </a:lvl6pPr>
            <a:lvl8pPr marL="0" indent="0">
              <a:buNone/>
              <a:defRPr sz="1000"/>
            </a:lvl8pPr>
            <a:lvl9pPr marL="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05934"/>
            <a:ext cx="2895600" cy="128016"/>
          </a:xfrm>
        </p:spPr>
        <p:txBody>
          <a:bodyPr/>
          <a:lstStyle/>
          <a:p>
            <a:r>
              <a:rPr lang="en-US" dirty="0"/>
              <a:t>FOOTER CHANGED UNDER INSERT&gt;HEADER &amp; FOOTER</a:t>
            </a:r>
          </a:p>
        </p:txBody>
      </p:sp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805934"/>
            <a:ext cx="2133600" cy="128016"/>
          </a:xfrm>
        </p:spPr>
        <p:txBody>
          <a:bodyPr/>
          <a:lstStyle/>
          <a:p>
            <a:fld id="{C5A2E38E-3676-4AC9-AE40-117CF2D4B3A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457200" y="4760214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 userDrawn="1"/>
        </p:nvSpPr>
        <p:spPr>
          <a:xfrm>
            <a:off x="457200" y="4805934"/>
            <a:ext cx="213055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kern="1200" cap="all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E INTERNATIONAL</a:t>
            </a:r>
            <a:r>
              <a:rPr lang="en-US" sz="800" b="1" kern="1200" cap="all" baseline="30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®</a:t>
            </a:r>
          </a:p>
        </p:txBody>
      </p:sp>
      <p:sp>
        <p:nvSpPr>
          <p:cNvPr id="31" name="TextBox 30"/>
          <p:cNvSpPr txBox="1"/>
          <p:nvPr userDrawn="1"/>
        </p:nvSpPr>
        <p:spPr>
          <a:xfrm>
            <a:off x="2286000" y="4917073"/>
            <a:ext cx="4572000" cy="1692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/>
            <a:r>
              <a:rPr lang="en-US" sz="5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Copyright © SAE International.  Further use or distribution is not permitted without permission from SAE</a:t>
            </a:r>
            <a:endParaRPr lang="en-US" sz="5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180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7B13C9-82DB-F743-879D-6ADC0D970C6E}" type="datetimeFigureOut">
              <a:rPr lang="en-US" smtClean="0"/>
              <a:t>12/4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A4875C-FC26-964F-B370-6BC6FB78787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1316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int_sae_sg_720_blk_rgb_wht.png"/>
          <p:cNvPicPr>
            <a:picLocks noChangeAspect="1"/>
          </p:cNvPicPr>
          <p:nvPr/>
        </p:nvPicPr>
        <p:blipFill>
          <a:blip r:embed="rId2"/>
          <a:srcRect l="1303"/>
          <a:stretch>
            <a:fillRect/>
          </a:stretch>
        </p:blipFill>
        <p:spPr>
          <a:xfrm rot="-5400000">
            <a:off x="4806144" y="805643"/>
            <a:ext cx="5143525" cy="3532190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0" y="-1"/>
            <a:ext cx="9144000" cy="5143501"/>
            <a:chOff x="0" y="-1"/>
            <a:chExt cx="9144000" cy="6858001"/>
          </a:xfrm>
        </p:grpSpPr>
        <p:sp>
          <p:nvSpPr>
            <p:cNvPr id="13" name="Rectangle 12"/>
            <p:cNvSpPr/>
            <p:nvPr userDrawn="1"/>
          </p:nvSpPr>
          <p:spPr bwMode="hidden">
            <a:xfrm>
              <a:off x="0" y="0"/>
              <a:ext cx="91440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pic>
          <p:nvPicPr>
            <p:cNvPr id="14" name="Picture 13" descr="int_sae_sg_720_dbl_rgb_wht.png"/>
            <p:cNvPicPr>
              <a:picLocks/>
            </p:cNvPicPr>
            <p:nvPr userDrawn="1"/>
          </p:nvPicPr>
          <p:blipFill>
            <a:blip r:embed="rId3" cstate="print"/>
            <a:srcRect l="1818"/>
            <a:stretch>
              <a:fillRect/>
            </a:stretch>
          </p:blipFill>
          <p:spPr bwMode="hidden">
            <a:xfrm rot="16200000">
              <a:off x="3944078" y="1658079"/>
              <a:ext cx="6858001" cy="354184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95350"/>
            <a:ext cx="4800600" cy="940274"/>
          </a:xfrm>
        </p:spPr>
        <p:txBody>
          <a:bodyPr anchor="b"/>
          <a:lstStyle>
            <a:lvl1pPr>
              <a:defRPr sz="1575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57200" y="438913"/>
            <a:ext cx="555955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prstClr val="black"/>
                </a:solidFill>
              </a:rPr>
              <a:t>SAE INTERNATIONA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1883392"/>
            <a:ext cx="4803232" cy="2691783"/>
          </a:xfrm>
        </p:spPr>
        <p:txBody>
          <a:bodyPr>
            <a:noAutofit/>
          </a:bodyPr>
          <a:lstStyle>
            <a:lvl1pPr marL="0" indent="0" algn="l">
              <a:buNone/>
              <a:defRPr sz="1575" b="0" cap="none" baseline="0">
                <a:solidFill>
                  <a:schemeClr val="accent1"/>
                </a:solidFill>
              </a:defRPr>
            </a:lvl1pPr>
            <a:lvl2pPr marL="0" indent="0" algn="l">
              <a:buNone/>
              <a:defRPr sz="1575">
                <a:solidFill>
                  <a:schemeClr val="accent1"/>
                </a:solidFill>
              </a:defRPr>
            </a:lvl2pPr>
            <a:lvl3pPr marL="0" indent="0" algn="l">
              <a:buNone/>
              <a:defRPr sz="1575">
                <a:solidFill>
                  <a:schemeClr val="accent1"/>
                </a:solidFill>
              </a:defRPr>
            </a:lvl3pPr>
            <a:lvl4pPr marL="0" indent="0" algn="l">
              <a:buNone/>
              <a:defRPr sz="1575">
                <a:solidFill>
                  <a:schemeClr val="accent1"/>
                </a:solidFill>
              </a:defRPr>
            </a:lvl4pPr>
            <a:lvl5pPr marL="0" indent="0" algn="l">
              <a:buNone/>
              <a:tabLst/>
              <a:defRPr sz="1575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575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575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575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575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sz="1575" dirty="0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42078872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A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int_sae_sg_720_blk_rgb_wht.png"/>
          <p:cNvPicPr>
            <a:picLocks noChangeAspect="1"/>
          </p:cNvPicPr>
          <p:nvPr userDrawn="1"/>
        </p:nvPicPr>
        <p:blipFill>
          <a:blip r:embed="rId2"/>
          <a:srcRect l="1303"/>
          <a:stretch>
            <a:fillRect/>
          </a:stretch>
        </p:blipFill>
        <p:spPr>
          <a:xfrm rot="-5400000">
            <a:off x="5246044" y="1247178"/>
            <a:ext cx="5143500" cy="2649143"/>
          </a:xfrm>
          <a:prstGeom prst="rect">
            <a:avLst/>
          </a:prstGeom>
        </p:spPr>
      </p:pic>
      <p:grpSp>
        <p:nvGrpSpPr>
          <p:cNvPr id="15" name="Group 14"/>
          <p:cNvGrpSpPr/>
          <p:nvPr userDrawn="1"/>
        </p:nvGrpSpPr>
        <p:grpSpPr bwMode="hidden">
          <a:xfrm>
            <a:off x="0" y="-1"/>
            <a:ext cx="9144000" cy="5143501"/>
            <a:chOff x="0" y="-1"/>
            <a:chExt cx="9144000" cy="5143501"/>
          </a:xfrm>
        </p:grpSpPr>
        <p:sp>
          <p:nvSpPr>
            <p:cNvPr id="12" name="Rectangle 11"/>
            <p:cNvSpPr/>
            <p:nvPr userDrawn="1"/>
          </p:nvSpPr>
          <p:spPr bwMode="hidden">
            <a:xfrm>
              <a:off x="0" y="0"/>
              <a:ext cx="9144000" cy="51435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 descr="int_sae_sg_720_dbl_rgb_wht.png"/>
            <p:cNvPicPr>
              <a:picLocks noChangeAspect="1"/>
            </p:cNvPicPr>
            <p:nvPr userDrawn="1"/>
          </p:nvPicPr>
          <p:blipFill>
            <a:blip r:embed="rId3" cstate="print"/>
            <a:srcRect l="1818"/>
            <a:stretch>
              <a:fillRect/>
            </a:stretch>
          </p:blipFill>
          <p:spPr bwMode="hidden">
            <a:xfrm rot="16200000">
              <a:off x="5238750" y="1238448"/>
              <a:ext cx="5143501" cy="266660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457200" y="895350"/>
            <a:ext cx="5559552" cy="940274"/>
          </a:xfrm>
        </p:spPr>
        <p:txBody>
          <a:bodyPr anchor="b"/>
          <a:lstStyle>
            <a:lvl1pPr>
              <a:defRPr sz="21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57200" y="438912"/>
            <a:ext cx="55595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+mj-lt"/>
              </a:rPr>
              <a:t>SAE INTERNATIONAL</a:t>
            </a:r>
          </a:p>
        </p:txBody>
      </p:sp>
      <p:sp>
        <p:nvSpPr>
          <p:cNvPr id="6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0" y="1883391"/>
            <a:ext cx="5562600" cy="2691783"/>
          </a:xfrm>
        </p:spPr>
        <p:txBody>
          <a:bodyPr>
            <a:noAutofit/>
          </a:bodyPr>
          <a:lstStyle>
            <a:lvl1pPr marL="0" indent="0" algn="l">
              <a:buNone/>
              <a:defRPr sz="2100" b="0" cap="none" baseline="0">
                <a:solidFill>
                  <a:schemeClr val="bg1"/>
                </a:solidFill>
              </a:defRPr>
            </a:lvl1pPr>
            <a:lvl2pPr marL="0" indent="0" algn="l">
              <a:buNone/>
              <a:defRPr sz="2100">
                <a:solidFill>
                  <a:schemeClr val="bg1"/>
                </a:solidFill>
              </a:defRPr>
            </a:lvl2pPr>
            <a:lvl3pPr marL="0" indent="0" algn="l">
              <a:buNone/>
              <a:defRPr sz="2100">
                <a:solidFill>
                  <a:schemeClr val="bg1"/>
                </a:solidFill>
              </a:defRPr>
            </a:lvl3pPr>
            <a:lvl4pPr marL="0" indent="0" algn="l">
              <a:buNone/>
              <a:defRPr sz="2100">
                <a:solidFill>
                  <a:schemeClr val="bg1"/>
                </a:solidFill>
              </a:defRPr>
            </a:lvl4pPr>
            <a:lvl5pPr marL="0" indent="0" algn="l">
              <a:buNone/>
              <a:tabLst/>
              <a:defRPr sz="210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10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10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10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z="2100" dirty="0"/>
              <a:t>Click to edit subhead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2286000" y="4917073"/>
            <a:ext cx="4572000" cy="1692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/>
            <a:r>
              <a:rPr lang="en-US" sz="500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opyright </a:t>
            </a:r>
            <a:r>
              <a:rPr lang="en-US" sz="5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</a:t>
            </a:r>
            <a:r>
              <a:rPr lang="en-US" sz="500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SAE International.  Further use or distribution is not permitted without permission from SAE</a:t>
            </a:r>
            <a:endParaRPr lang="en-US" sz="5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SA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int_sae_sg_720_blk_rgb_wht.png"/>
          <p:cNvPicPr>
            <a:picLocks/>
          </p:cNvPicPr>
          <p:nvPr/>
        </p:nvPicPr>
        <p:blipFill>
          <a:blip r:embed="rId2"/>
          <a:srcRect l="1303"/>
          <a:stretch>
            <a:fillRect/>
          </a:stretch>
        </p:blipFill>
        <p:spPr>
          <a:xfrm rot="-5400000">
            <a:off x="4806155" y="805655"/>
            <a:ext cx="5143500" cy="3532190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0" y="-1"/>
            <a:ext cx="9144000" cy="5143501"/>
            <a:chOff x="0" y="-1"/>
            <a:chExt cx="9144000" cy="6858001"/>
          </a:xfrm>
        </p:grpSpPr>
        <p:sp>
          <p:nvSpPr>
            <p:cNvPr id="18" name="Rectangle 17"/>
            <p:cNvSpPr/>
            <p:nvPr userDrawn="1"/>
          </p:nvSpPr>
          <p:spPr bwMode="hidden">
            <a:xfrm>
              <a:off x="0" y="0"/>
              <a:ext cx="9144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pic>
          <p:nvPicPr>
            <p:cNvPr id="19" name="Picture 18" descr="int_sae_sg_720_dbl_rgb_wht.png"/>
            <p:cNvPicPr>
              <a:picLocks/>
            </p:cNvPicPr>
            <p:nvPr userDrawn="1"/>
          </p:nvPicPr>
          <p:blipFill>
            <a:blip r:embed="rId3" cstate="print"/>
            <a:srcRect l="1818"/>
            <a:stretch>
              <a:fillRect/>
            </a:stretch>
          </p:blipFill>
          <p:spPr bwMode="hidden">
            <a:xfrm rot="16200000">
              <a:off x="3944078" y="1658079"/>
              <a:ext cx="6858001" cy="354184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95350"/>
            <a:ext cx="4800600" cy="940274"/>
          </a:xfrm>
        </p:spPr>
        <p:txBody>
          <a:bodyPr anchor="b"/>
          <a:lstStyle>
            <a:lvl1pPr>
              <a:defRPr sz="1575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57200" y="438913"/>
            <a:ext cx="555955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prstClr val="white"/>
                </a:solidFill>
              </a:rPr>
              <a:t>SAE INTERNATIONA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1883392"/>
            <a:ext cx="4803232" cy="2691783"/>
          </a:xfrm>
        </p:spPr>
        <p:txBody>
          <a:bodyPr>
            <a:noAutofit/>
          </a:bodyPr>
          <a:lstStyle>
            <a:lvl1pPr marL="0" indent="0" algn="l">
              <a:buNone/>
              <a:defRPr sz="1575" b="0" cap="none" baseline="0">
                <a:solidFill>
                  <a:schemeClr val="bg1"/>
                </a:solidFill>
              </a:defRPr>
            </a:lvl1pPr>
            <a:lvl2pPr marL="0" indent="0" algn="l">
              <a:buNone/>
              <a:defRPr sz="1575">
                <a:solidFill>
                  <a:schemeClr val="bg1"/>
                </a:solidFill>
              </a:defRPr>
            </a:lvl2pPr>
            <a:lvl3pPr marL="0" indent="0" algn="l">
              <a:buNone/>
              <a:defRPr sz="1575">
                <a:solidFill>
                  <a:schemeClr val="bg1"/>
                </a:solidFill>
              </a:defRPr>
            </a:lvl3pPr>
            <a:lvl4pPr marL="0" indent="0" algn="l">
              <a:buNone/>
              <a:defRPr sz="1575">
                <a:solidFill>
                  <a:schemeClr val="bg1"/>
                </a:solidFill>
              </a:defRPr>
            </a:lvl4pPr>
            <a:lvl5pPr marL="0" indent="0" algn="l">
              <a:buNone/>
              <a:tabLst/>
              <a:defRPr sz="1575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575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575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575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5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z="1575" dirty="0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32210424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SA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int_sae_sg_720_blk_rgb_wht.png"/>
          <p:cNvPicPr>
            <a:picLocks/>
          </p:cNvPicPr>
          <p:nvPr/>
        </p:nvPicPr>
        <p:blipFill>
          <a:blip r:embed="rId2"/>
          <a:srcRect l="1303"/>
          <a:stretch>
            <a:fillRect/>
          </a:stretch>
        </p:blipFill>
        <p:spPr>
          <a:xfrm rot="-5400000">
            <a:off x="4806155" y="805655"/>
            <a:ext cx="5143500" cy="3532190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0" y="-1"/>
            <a:ext cx="9144000" cy="5143501"/>
            <a:chOff x="0" y="-1"/>
            <a:chExt cx="9144000" cy="6858001"/>
          </a:xfrm>
        </p:grpSpPr>
        <p:sp>
          <p:nvSpPr>
            <p:cNvPr id="14" name="Rectangle 13"/>
            <p:cNvSpPr/>
            <p:nvPr userDrawn="1"/>
          </p:nvSpPr>
          <p:spPr bwMode="hidden">
            <a:xfrm>
              <a:off x="0" y="0"/>
              <a:ext cx="9144000" cy="6858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pic>
          <p:nvPicPr>
            <p:cNvPr id="15" name="Picture 14" descr="int_sae_sg_720_dbl_rgb_wht.png"/>
            <p:cNvPicPr>
              <a:picLocks/>
            </p:cNvPicPr>
            <p:nvPr userDrawn="1"/>
          </p:nvPicPr>
          <p:blipFill>
            <a:blip r:embed="rId3" cstate="print"/>
            <a:srcRect l="1818"/>
            <a:stretch>
              <a:fillRect/>
            </a:stretch>
          </p:blipFill>
          <p:spPr bwMode="hidden">
            <a:xfrm rot="16200000">
              <a:off x="3944078" y="1658079"/>
              <a:ext cx="6858001" cy="354184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95350"/>
            <a:ext cx="4800600" cy="940274"/>
          </a:xfrm>
        </p:spPr>
        <p:txBody>
          <a:bodyPr anchor="b"/>
          <a:lstStyle>
            <a:lvl1pPr>
              <a:defRPr sz="1575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57200" y="438913"/>
            <a:ext cx="555955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prstClr val="white"/>
                </a:solidFill>
              </a:rPr>
              <a:t>SAE INTERNATIONA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1883392"/>
            <a:ext cx="4803232" cy="2691783"/>
          </a:xfrm>
        </p:spPr>
        <p:txBody>
          <a:bodyPr>
            <a:noAutofit/>
          </a:bodyPr>
          <a:lstStyle>
            <a:lvl1pPr marL="0" indent="0" algn="l">
              <a:buNone/>
              <a:defRPr sz="1575" b="0" cap="none" baseline="0">
                <a:solidFill>
                  <a:schemeClr val="bg1"/>
                </a:solidFill>
              </a:defRPr>
            </a:lvl1pPr>
            <a:lvl2pPr marL="0" indent="0" algn="l">
              <a:buNone/>
              <a:defRPr sz="1575">
                <a:solidFill>
                  <a:schemeClr val="bg1"/>
                </a:solidFill>
              </a:defRPr>
            </a:lvl2pPr>
            <a:lvl3pPr marL="0" indent="0" algn="l">
              <a:buNone/>
              <a:defRPr sz="1575">
                <a:solidFill>
                  <a:schemeClr val="bg1"/>
                </a:solidFill>
              </a:defRPr>
            </a:lvl3pPr>
            <a:lvl4pPr marL="0" indent="0" algn="l">
              <a:buNone/>
              <a:defRPr sz="1575">
                <a:solidFill>
                  <a:schemeClr val="bg1"/>
                </a:solidFill>
              </a:defRPr>
            </a:lvl4pPr>
            <a:lvl5pPr marL="0" indent="0" algn="l">
              <a:buNone/>
              <a:tabLst/>
              <a:defRPr sz="1575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575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575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575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5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z="1575" dirty="0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30962759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SAE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int_sae_sg_720_blk_rgb_wht.png"/>
          <p:cNvPicPr>
            <a:picLocks/>
          </p:cNvPicPr>
          <p:nvPr/>
        </p:nvPicPr>
        <p:blipFill>
          <a:blip r:embed="rId2"/>
          <a:srcRect l="1303"/>
          <a:stretch>
            <a:fillRect/>
          </a:stretch>
        </p:blipFill>
        <p:spPr>
          <a:xfrm rot="-5400000">
            <a:off x="4806155" y="805655"/>
            <a:ext cx="5143500" cy="3532190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0" y="-1"/>
            <a:ext cx="9144000" cy="5143501"/>
            <a:chOff x="0" y="-1"/>
            <a:chExt cx="9144000" cy="6858001"/>
          </a:xfrm>
        </p:grpSpPr>
        <p:sp>
          <p:nvSpPr>
            <p:cNvPr id="14" name="Rectangle 13"/>
            <p:cNvSpPr/>
            <p:nvPr userDrawn="1"/>
          </p:nvSpPr>
          <p:spPr bwMode="hidden">
            <a:xfrm>
              <a:off x="0" y="0"/>
              <a:ext cx="9144000" cy="685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pic>
          <p:nvPicPr>
            <p:cNvPr id="15" name="Picture 14" descr="int_sae_sg_720_dbl_rgb_wht.png"/>
            <p:cNvPicPr>
              <a:picLocks/>
            </p:cNvPicPr>
            <p:nvPr userDrawn="1"/>
          </p:nvPicPr>
          <p:blipFill>
            <a:blip r:embed="rId3" cstate="print"/>
            <a:srcRect l="1818"/>
            <a:stretch>
              <a:fillRect/>
            </a:stretch>
          </p:blipFill>
          <p:spPr bwMode="hidden">
            <a:xfrm rot="16200000">
              <a:off x="3944078" y="1658079"/>
              <a:ext cx="6858001" cy="354184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95350"/>
            <a:ext cx="4800600" cy="940274"/>
          </a:xfrm>
        </p:spPr>
        <p:txBody>
          <a:bodyPr anchor="b"/>
          <a:lstStyle>
            <a:lvl1pPr>
              <a:defRPr sz="1575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57200" y="438913"/>
            <a:ext cx="555955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prstClr val="white"/>
                </a:solidFill>
              </a:rPr>
              <a:t>SAE INTERNATIONA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1883392"/>
            <a:ext cx="4803232" cy="2691783"/>
          </a:xfrm>
        </p:spPr>
        <p:txBody>
          <a:bodyPr>
            <a:noAutofit/>
          </a:bodyPr>
          <a:lstStyle>
            <a:lvl1pPr marL="0" indent="0" algn="l">
              <a:buNone/>
              <a:defRPr sz="1575" b="0" cap="none" baseline="0">
                <a:solidFill>
                  <a:schemeClr val="bg1"/>
                </a:solidFill>
              </a:defRPr>
            </a:lvl1pPr>
            <a:lvl2pPr marL="0" indent="0" algn="l">
              <a:buNone/>
              <a:defRPr sz="1575">
                <a:solidFill>
                  <a:schemeClr val="bg1"/>
                </a:solidFill>
              </a:defRPr>
            </a:lvl2pPr>
            <a:lvl3pPr marL="0" indent="0" algn="l">
              <a:buNone/>
              <a:defRPr sz="1575">
                <a:solidFill>
                  <a:schemeClr val="bg1"/>
                </a:solidFill>
              </a:defRPr>
            </a:lvl3pPr>
            <a:lvl4pPr marL="0" indent="0" algn="l">
              <a:buNone/>
              <a:defRPr sz="1575">
                <a:solidFill>
                  <a:schemeClr val="bg1"/>
                </a:solidFill>
              </a:defRPr>
            </a:lvl4pPr>
            <a:lvl5pPr marL="0" indent="0" algn="l">
              <a:buNone/>
              <a:tabLst/>
              <a:defRPr sz="1575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575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575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575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5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z="1575" dirty="0"/>
              <a:t>Click to edit subhead</a:t>
            </a:r>
          </a:p>
        </p:txBody>
      </p:sp>
    </p:spTree>
    <p:extLst>
      <p:ext uri="{BB962C8B-B14F-4D97-AF65-F5344CB8AC3E}">
        <p14:creationId xmlns:p14="http://schemas.microsoft.com/office/powerpoint/2010/main" val="36227700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95350"/>
            <a:ext cx="4800600" cy="940274"/>
          </a:xfrm>
        </p:spPr>
        <p:txBody>
          <a:bodyPr anchor="b"/>
          <a:lstStyle>
            <a:lvl1pPr>
              <a:defRPr sz="1575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57200" y="438913"/>
            <a:ext cx="5559552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b="1" dirty="0">
                <a:solidFill>
                  <a:prstClr val="black"/>
                </a:solidFill>
              </a:rPr>
              <a:t>SAE INTERNATIONA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1883392"/>
            <a:ext cx="4803232" cy="2691783"/>
          </a:xfrm>
        </p:spPr>
        <p:txBody>
          <a:bodyPr>
            <a:noAutofit/>
          </a:bodyPr>
          <a:lstStyle>
            <a:lvl1pPr marL="0" indent="0" algn="l">
              <a:buNone/>
              <a:defRPr sz="1575" b="0" cap="none" baseline="0">
                <a:solidFill>
                  <a:schemeClr val="tx1"/>
                </a:solidFill>
              </a:defRPr>
            </a:lvl1pPr>
            <a:lvl2pPr marL="0" indent="0" algn="l">
              <a:buNone/>
              <a:defRPr sz="1575">
                <a:solidFill>
                  <a:schemeClr val="tx1"/>
                </a:solidFill>
              </a:defRPr>
            </a:lvl2pPr>
            <a:lvl3pPr marL="0" indent="0" algn="l">
              <a:buNone/>
              <a:defRPr sz="1575">
                <a:solidFill>
                  <a:schemeClr val="tx1"/>
                </a:solidFill>
              </a:defRPr>
            </a:lvl3pPr>
            <a:lvl4pPr marL="0" indent="0" algn="l">
              <a:buNone/>
              <a:defRPr sz="1575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1575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1575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1575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1575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1575">
                <a:solidFill>
                  <a:schemeClr val="tx1"/>
                </a:solidFill>
              </a:defRPr>
            </a:lvl9pPr>
          </a:lstStyle>
          <a:p>
            <a:pPr lvl="0"/>
            <a:r>
              <a:rPr lang="en-US" sz="1575" dirty="0"/>
              <a:t>Click to edit subhead</a:t>
            </a:r>
          </a:p>
        </p:txBody>
      </p:sp>
      <p:pic>
        <p:nvPicPr>
          <p:cNvPr id="8" name="Picture 7" descr="int_sae_sg_720_dbl_rgb_wht.png"/>
          <p:cNvPicPr>
            <a:picLocks/>
          </p:cNvPicPr>
          <p:nvPr/>
        </p:nvPicPr>
        <p:blipFill>
          <a:blip r:embed="rId2" cstate="print"/>
          <a:srcRect l="1818"/>
          <a:stretch>
            <a:fillRect/>
          </a:stretch>
        </p:blipFill>
        <p:spPr>
          <a:xfrm rot="16200000">
            <a:off x="4807237" y="806739"/>
            <a:ext cx="5143502" cy="3530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3083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SAE Bo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int_sae_vrt_blk_rgb_pos.png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4440" y="4261105"/>
            <a:ext cx="920498" cy="45826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14324"/>
            <a:ext cx="7735824" cy="1257301"/>
          </a:xfrm>
        </p:spPr>
        <p:txBody>
          <a:bodyPr anchor="b"/>
          <a:lstStyle>
            <a:lvl1pPr>
              <a:defRPr sz="1575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0" y="0"/>
            <a:ext cx="9144000" cy="5143500"/>
            <a:chOff x="0" y="0"/>
            <a:chExt cx="9144000" cy="6858000"/>
          </a:xfrm>
        </p:grpSpPr>
        <p:sp>
          <p:nvSpPr>
            <p:cNvPr id="8" name="Rectangle 7"/>
            <p:cNvSpPr/>
            <p:nvPr userDrawn="1"/>
          </p:nvSpPr>
          <p:spPr bwMode="hidden">
            <a:xfrm>
              <a:off x="0" y="0"/>
              <a:ext cx="4572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 bwMode="hidden">
            <a:xfrm>
              <a:off x="8686800" y="0"/>
              <a:ext cx="4572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 bwMode="hidden">
            <a:xfrm>
              <a:off x="0" y="5054600"/>
              <a:ext cx="9144000" cy="1803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 bwMode="hidden">
            <a:xfrm rot="18060000">
              <a:off x="8389856" y="4710998"/>
              <a:ext cx="748541" cy="4727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685802" y="1628774"/>
            <a:ext cx="7731125" cy="1933575"/>
          </a:xfrm>
        </p:spPr>
        <p:txBody>
          <a:bodyPr/>
          <a:lstStyle>
            <a:lvl1pPr marL="0" indent="0">
              <a:buFont typeface="Arial" pitchFamily="34" charset="0"/>
              <a:buNone/>
              <a:defRPr sz="1575" b="0">
                <a:latin typeface="+mn-lt"/>
              </a:defRPr>
            </a:lvl1pPr>
            <a:lvl2pPr marL="0" indent="0">
              <a:buFont typeface="Arial" pitchFamily="34" charset="0"/>
              <a:buNone/>
              <a:defRPr sz="1575" b="0">
                <a:latin typeface="+mn-lt"/>
              </a:defRPr>
            </a:lvl2pPr>
            <a:lvl3pPr marL="0" indent="0">
              <a:buNone/>
              <a:defRPr sz="1575" b="0">
                <a:latin typeface="+mn-lt"/>
              </a:defRPr>
            </a:lvl3pPr>
            <a:lvl4pPr marL="0" indent="0">
              <a:buNone/>
              <a:defRPr sz="1575" b="0">
                <a:latin typeface="+mn-lt"/>
              </a:defRPr>
            </a:lvl4pPr>
            <a:lvl5pPr marL="0" indent="0">
              <a:buFont typeface="Arial" pitchFamily="34" charset="0"/>
              <a:buNone/>
              <a:defRPr sz="1575" b="0"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575"/>
            </a:lvl6pPr>
            <a:lvl7pPr marL="0" indent="0">
              <a:spcBef>
                <a:spcPts val="0"/>
              </a:spcBef>
              <a:buNone/>
              <a:defRPr sz="1575"/>
            </a:lvl7pPr>
            <a:lvl8pPr marL="0" indent="0">
              <a:spcBef>
                <a:spcPts val="0"/>
              </a:spcBef>
              <a:buNone/>
              <a:defRPr sz="1575"/>
            </a:lvl8pPr>
            <a:lvl9pPr marL="0" indent="0">
              <a:spcBef>
                <a:spcPts val="0"/>
              </a:spcBef>
              <a:buNone/>
              <a:defRPr sz="15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int_sae_vrt_dbl_rgb_pos.png"/>
          <p:cNvPicPr>
            <a:picLocks/>
          </p:cNvPicPr>
          <p:nvPr/>
        </p:nvPicPr>
        <p:blipFill>
          <a:blip r:embed="rId3" cstate="print"/>
          <a:stretch>
            <a:fillRect/>
          </a:stretch>
        </p:blipFill>
        <p:spPr bwMode="hidden">
          <a:xfrm>
            <a:off x="420624" y="4261105"/>
            <a:ext cx="920498" cy="458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0665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with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658368"/>
            <a:ext cx="7620000" cy="548640"/>
          </a:xfrm>
        </p:spPr>
        <p:txBody>
          <a:bodyPr>
            <a:noAutofit/>
          </a:bodyPr>
          <a:lstStyle>
            <a:lvl1pPr>
              <a:defRPr sz="2775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5D8FA6-68AB-4A14-A7AD-22E476017BCB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" y="4828033"/>
            <a:ext cx="8229600" cy="119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57200" y="4873753"/>
            <a:ext cx="213055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dirty="0">
                <a:solidFill>
                  <a:prstClr val="white"/>
                </a:solidFill>
              </a:rPr>
              <a:t>SAE INTERNATIONA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428750"/>
            <a:ext cx="7620000" cy="2834640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b="0"/>
            </a:lvl1pPr>
            <a:lvl2pPr marL="129779" marR="0" indent="-129779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Char char="•"/>
              <a:tabLst/>
              <a:defRPr b="0"/>
            </a:lvl2pPr>
            <a:lvl3pPr marL="345281" indent="-172641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–"/>
              <a:defRPr b="0"/>
            </a:lvl3pPr>
            <a:lvl4pPr marL="598885" indent="-128588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900" b="0"/>
            </a:lvl4pPr>
            <a:lvl5pPr marL="598885" indent="-128588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900" b="0"/>
            </a:lvl5pPr>
            <a:lvl6pPr marL="598885" indent="-128588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900" b="0"/>
            </a:lvl6pPr>
            <a:lvl7pPr marL="598885" indent="-128588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900" b="0"/>
            </a:lvl7pPr>
            <a:lvl8pPr marL="598885" indent="-128588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900" b="0"/>
            </a:lvl8pPr>
            <a:lvl9pPr marL="598885" indent="-128588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900" b="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0"/>
            <a:endParaRPr lang="en-US" dirty="0"/>
          </a:p>
        </p:txBody>
      </p:sp>
      <p:sp>
        <p:nvSpPr>
          <p:cNvPr id="11" name="Freeform 10"/>
          <p:cNvSpPr/>
          <p:nvPr/>
        </p:nvSpPr>
        <p:spPr>
          <a:xfrm>
            <a:off x="460690" y="432770"/>
            <a:ext cx="8229600" cy="4139231"/>
          </a:xfrm>
          <a:custGeom>
            <a:avLst/>
            <a:gdLst>
              <a:gd name="connsiteX0" fmla="*/ 7950394 w 8229600"/>
              <a:gd name="connsiteY0" fmla="*/ 4139231 h 4139231"/>
              <a:gd name="connsiteX1" fmla="*/ 8229600 w 8229600"/>
              <a:gd name="connsiteY1" fmla="*/ 3692501 h 4139231"/>
              <a:gd name="connsiteX2" fmla="*/ 8222620 w 8229600"/>
              <a:gd name="connsiteY2" fmla="*/ 0 h 4139231"/>
              <a:gd name="connsiteX3" fmla="*/ 0 w 8229600"/>
              <a:gd name="connsiteY3" fmla="*/ 0 h 4139231"/>
              <a:gd name="connsiteX4" fmla="*/ 0 w 8229600"/>
              <a:gd name="connsiteY4" fmla="*/ 4139231 h 4139231"/>
              <a:gd name="connsiteX5" fmla="*/ 7950394 w 8229600"/>
              <a:gd name="connsiteY5" fmla="*/ 4139231 h 4139231"/>
              <a:gd name="connsiteX0" fmla="*/ 7950394 w 8229600"/>
              <a:gd name="connsiteY0" fmla="*/ 4139231 h 4139231"/>
              <a:gd name="connsiteX1" fmla="*/ 8229600 w 8229600"/>
              <a:gd name="connsiteY1" fmla="*/ 3863951 h 4139231"/>
              <a:gd name="connsiteX2" fmla="*/ 8222620 w 8229600"/>
              <a:gd name="connsiteY2" fmla="*/ 0 h 4139231"/>
              <a:gd name="connsiteX3" fmla="*/ 0 w 8229600"/>
              <a:gd name="connsiteY3" fmla="*/ 0 h 4139231"/>
              <a:gd name="connsiteX4" fmla="*/ 0 w 8229600"/>
              <a:gd name="connsiteY4" fmla="*/ 4139231 h 4139231"/>
              <a:gd name="connsiteX5" fmla="*/ 7950394 w 8229600"/>
              <a:gd name="connsiteY5" fmla="*/ 4139231 h 4139231"/>
              <a:gd name="connsiteX0" fmla="*/ 7950394 w 8229600"/>
              <a:gd name="connsiteY0" fmla="*/ 4139231 h 4139231"/>
              <a:gd name="connsiteX1" fmla="*/ 8229600 w 8229600"/>
              <a:gd name="connsiteY1" fmla="*/ 3863951 h 4139231"/>
              <a:gd name="connsiteX2" fmla="*/ 8222620 w 8229600"/>
              <a:gd name="connsiteY2" fmla="*/ 0 h 4139231"/>
              <a:gd name="connsiteX3" fmla="*/ 0 w 8229600"/>
              <a:gd name="connsiteY3" fmla="*/ 0 h 4139231"/>
              <a:gd name="connsiteX4" fmla="*/ 0 w 8229600"/>
              <a:gd name="connsiteY4" fmla="*/ 4139231 h 4139231"/>
              <a:gd name="connsiteX5" fmla="*/ 7950394 w 8229600"/>
              <a:gd name="connsiteY5" fmla="*/ 4139231 h 4139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9600" h="4139231">
                <a:moveTo>
                  <a:pt x="7950394" y="4139231"/>
                </a:moveTo>
                <a:lnTo>
                  <a:pt x="8229600" y="3863951"/>
                </a:lnTo>
                <a:cubicBezTo>
                  <a:pt x="8227273" y="2633117"/>
                  <a:pt x="8224947" y="1230834"/>
                  <a:pt x="8222620" y="0"/>
                </a:cubicBezTo>
                <a:lnTo>
                  <a:pt x="0" y="0"/>
                </a:lnTo>
                <a:lnTo>
                  <a:pt x="0" y="4139231"/>
                </a:lnTo>
                <a:lnTo>
                  <a:pt x="7950394" y="4139231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5317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with Color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658368"/>
            <a:ext cx="7620000" cy="548640"/>
          </a:xfrm>
        </p:spPr>
        <p:txBody>
          <a:bodyPr>
            <a:noAutofit/>
          </a:bodyPr>
          <a:lstStyle>
            <a:lvl1pPr>
              <a:defRPr sz="2775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5D8FA6-68AB-4A14-A7AD-22E476017BCB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" y="4828033"/>
            <a:ext cx="8229600" cy="119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428750"/>
            <a:ext cx="7620000" cy="283464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0">
                <a:solidFill>
                  <a:schemeClr val="bg1"/>
                </a:solidFill>
              </a:defRPr>
            </a:lvl1pPr>
            <a:lvl2pPr marL="129779" indent="-129779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45281" indent="-172641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598885" indent="-128588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900" b="0">
                <a:solidFill>
                  <a:schemeClr val="bg1"/>
                </a:solidFill>
              </a:defRPr>
            </a:lvl4pPr>
            <a:lvl5pPr marL="598885" indent="-128588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900" b="0">
                <a:solidFill>
                  <a:schemeClr val="bg1"/>
                </a:solidFill>
              </a:defRPr>
            </a:lvl5pPr>
            <a:lvl6pPr marL="598885" indent="-128588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900" b="0">
                <a:solidFill>
                  <a:schemeClr val="bg1"/>
                </a:solidFill>
              </a:defRPr>
            </a:lvl6pPr>
            <a:lvl7pPr marL="598885" indent="-128588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900" b="0">
                <a:solidFill>
                  <a:schemeClr val="bg1"/>
                </a:solidFill>
              </a:defRPr>
            </a:lvl7pPr>
            <a:lvl8pPr marL="598885" indent="-128588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900" b="0">
                <a:solidFill>
                  <a:schemeClr val="bg1"/>
                </a:solidFill>
              </a:defRPr>
            </a:lvl8pPr>
            <a:lvl9pPr marL="598885" indent="-128588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9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9" name="Freeform 8"/>
          <p:cNvSpPr/>
          <p:nvPr/>
        </p:nvSpPr>
        <p:spPr>
          <a:xfrm>
            <a:off x="460690" y="432770"/>
            <a:ext cx="8229600" cy="4139231"/>
          </a:xfrm>
          <a:custGeom>
            <a:avLst/>
            <a:gdLst>
              <a:gd name="connsiteX0" fmla="*/ 7950394 w 8229600"/>
              <a:gd name="connsiteY0" fmla="*/ 4139231 h 4139231"/>
              <a:gd name="connsiteX1" fmla="*/ 8229600 w 8229600"/>
              <a:gd name="connsiteY1" fmla="*/ 3692501 h 4139231"/>
              <a:gd name="connsiteX2" fmla="*/ 8222620 w 8229600"/>
              <a:gd name="connsiteY2" fmla="*/ 0 h 4139231"/>
              <a:gd name="connsiteX3" fmla="*/ 0 w 8229600"/>
              <a:gd name="connsiteY3" fmla="*/ 0 h 4139231"/>
              <a:gd name="connsiteX4" fmla="*/ 0 w 8229600"/>
              <a:gd name="connsiteY4" fmla="*/ 4139231 h 4139231"/>
              <a:gd name="connsiteX5" fmla="*/ 7950394 w 8229600"/>
              <a:gd name="connsiteY5" fmla="*/ 4139231 h 4139231"/>
              <a:gd name="connsiteX0" fmla="*/ 7950394 w 8229600"/>
              <a:gd name="connsiteY0" fmla="*/ 4139231 h 4139231"/>
              <a:gd name="connsiteX1" fmla="*/ 8229600 w 8229600"/>
              <a:gd name="connsiteY1" fmla="*/ 3863951 h 4139231"/>
              <a:gd name="connsiteX2" fmla="*/ 8222620 w 8229600"/>
              <a:gd name="connsiteY2" fmla="*/ 0 h 4139231"/>
              <a:gd name="connsiteX3" fmla="*/ 0 w 8229600"/>
              <a:gd name="connsiteY3" fmla="*/ 0 h 4139231"/>
              <a:gd name="connsiteX4" fmla="*/ 0 w 8229600"/>
              <a:gd name="connsiteY4" fmla="*/ 4139231 h 4139231"/>
              <a:gd name="connsiteX5" fmla="*/ 7950394 w 8229600"/>
              <a:gd name="connsiteY5" fmla="*/ 4139231 h 4139231"/>
              <a:gd name="connsiteX0" fmla="*/ 7950394 w 8229600"/>
              <a:gd name="connsiteY0" fmla="*/ 4139231 h 4139231"/>
              <a:gd name="connsiteX1" fmla="*/ 8229600 w 8229600"/>
              <a:gd name="connsiteY1" fmla="*/ 3863951 h 4139231"/>
              <a:gd name="connsiteX2" fmla="*/ 8222620 w 8229600"/>
              <a:gd name="connsiteY2" fmla="*/ 0 h 4139231"/>
              <a:gd name="connsiteX3" fmla="*/ 0 w 8229600"/>
              <a:gd name="connsiteY3" fmla="*/ 0 h 4139231"/>
              <a:gd name="connsiteX4" fmla="*/ 0 w 8229600"/>
              <a:gd name="connsiteY4" fmla="*/ 4139231 h 4139231"/>
              <a:gd name="connsiteX5" fmla="*/ 7950394 w 8229600"/>
              <a:gd name="connsiteY5" fmla="*/ 4139231 h 4139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9600" h="4139231">
                <a:moveTo>
                  <a:pt x="7950394" y="4139231"/>
                </a:moveTo>
                <a:lnTo>
                  <a:pt x="8229600" y="3863951"/>
                </a:lnTo>
                <a:cubicBezTo>
                  <a:pt x="8227273" y="2633117"/>
                  <a:pt x="8224947" y="1230834"/>
                  <a:pt x="8222620" y="0"/>
                </a:cubicBezTo>
                <a:lnTo>
                  <a:pt x="0" y="0"/>
                </a:lnTo>
                <a:lnTo>
                  <a:pt x="0" y="4139231"/>
                </a:lnTo>
                <a:lnTo>
                  <a:pt x="7950394" y="4139231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57200" y="4873753"/>
            <a:ext cx="213055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cap="all" dirty="0">
                <a:solidFill>
                  <a:prstClr val="white"/>
                </a:solidFill>
              </a:rPr>
              <a:t>SAE INTERNATIONAL</a:t>
            </a:r>
          </a:p>
        </p:txBody>
      </p:sp>
    </p:spTree>
    <p:extLst>
      <p:ext uri="{BB962C8B-B14F-4D97-AF65-F5344CB8AC3E}">
        <p14:creationId xmlns:p14="http://schemas.microsoft.com/office/powerpoint/2010/main" val="17089396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Color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5D8FA6-68AB-4A14-A7AD-22E476017BCB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" y="4828033"/>
            <a:ext cx="8229600" cy="119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657224"/>
            <a:ext cx="7620000" cy="3429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775" b="1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775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775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775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775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775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775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775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2775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HEADLINE</a:t>
            </a:r>
          </a:p>
          <a:p>
            <a:pPr lvl="1"/>
            <a:r>
              <a:rPr lang="en-US" dirty="0"/>
              <a:t>Click to edit subhea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57200" y="4873753"/>
            <a:ext cx="213055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cap="all" dirty="0">
                <a:solidFill>
                  <a:prstClr val="white"/>
                </a:solidFill>
              </a:rPr>
              <a:t>SAE INTERNATIONAL</a:t>
            </a:r>
          </a:p>
        </p:txBody>
      </p:sp>
      <p:sp>
        <p:nvSpPr>
          <p:cNvPr id="12" name="Freeform 11"/>
          <p:cNvSpPr/>
          <p:nvPr/>
        </p:nvSpPr>
        <p:spPr>
          <a:xfrm>
            <a:off x="460690" y="432770"/>
            <a:ext cx="8229600" cy="4139231"/>
          </a:xfrm>
          <a:custGeom>
            <a:avLst/>
            <a:gdLst>
              <a:gd name="connsiteX0" fmla="*/ 7950394 w 8229600"/>
              <a:gd name="connsiteY0" fmla="*/ 4139231 h 4139231"/>
              <a:gd name="connsiteX1" fmla="*/ 8229600 w 8229600"/>
              <a:gd name="connsiteY1" fmla="*/ 3692501 h 4139231"/>
              <a:gd name="connsiteX2" fmla="*/ 8222620 w 8229600"/>
              <a:gd name="connsiteY2" fmla="*/ 0 h 4139231"/>
              <a:gd name="connsiteX3" fmla="*/ 0 w 8229600"/>
              <a:gd name="connsiteY3" fmla="*/ 0 h 4139231"/>
              <a:gd name="connsiteX4" fmla="*/ 0 w 8229600"/>
              <a:gd name="connsiteY4" fmla="*/ 4139231 h 4139231"/>
              <a:gd name="connsiteX5" fmla="*/ 7950394 w 8229600"/>
              <a:gd name="connsiteY5" fmla="*/ 4139231 h 4139231"/>
              <a:gd name="connsiteX0" fmla="*/ 7950394 w 8229600"/>
              <a:gd name="connsiteY0" fmla="*/ 4139231 h 4139231"/>
              <a:gd name="connsiteX1" fmla="*/ 8229600 w 8229600"/>
              <a:gd name="connsiteY1" fmla="*/ 3863951 h 4139231"/>
              <a:gd name="connsiteX2" fmla="*/ 8222620 w 8229600"/>
              <a:gd name="connsiteY2" fmla="*/ 0 h 4139231"/>
              <a:gd name="connsiteX3" fmla="*/ 0 w 8229600"/>
              <a:gd name="connsiteY3" fmla="*/ 0 h 4139231"/>
              <a:gd name="connsiteX4" fmla="*/ 0 w 8229600"/>
              <a:gd name="connsiteY4" fmla="*/ 4139231 h 4139231"/>
              <a:gd name="connsiteX5" fmla="*/ 7950394 w 8229600"/>
              <a:gd name="connsiteY5" fmla="*/ 4139231 h 4139231"/>
              <a:gd name="connsiteX0" fmla="*/ 7950394 w 8229600"/>
              <a:gd name="connsiteY0" fmla="*/ 4139231 h 4139231"/>
              <a:gd name="connsiteX1" fmla="*/ 8229600 w 8229600"/>
              <a:gd name="connsiteY1" fmla="*/ 3863951 h 4139231"/>
              <a:gd name="connsiteX2" fmla="*/ 8222620 w 8229600"/>
              <a:gd name="connsiteY2" fmla="*/ 0 h 4139231"/>
              <a:gd name="connsiteX3" fmla="*/ 0 w 8229600"/>
              <a:gd name="connsiteY3" fmla="*/ 0 h 4139231"/>
              <a:gd name="connsiteX4" fmla="*/ 0 w 8229600"/>
              <a:gd name="connsiteY4" fmla="*/ 4139231 h 4139231"/>
              <a:gd name="connsiteX5" fmla="*/ 7950394 w 8229600"/>
              <a:gd name="connsiteY5" fmla="*/ 4139231 h 4139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9600" h="4139231">
                <a:moveTo>
                  <a:pt x="7950394" y="4139231"/>
                </a:moveTo>
                <a:lnTo>
                  <a:pt x="8229600" y="3863951"/>
                </a:lnTo>
                <a:cubicBezTo>
                  <a:pt x="8227273" y="2633117"/>
                  <a:pt x="8224947" y="1230834"/>
                  <a:pt x="8222620" y="0"/>
                </a:cubicBezTo>
                <a:lnTo>
                  <a:pt x="0" y="0"/>
                </a:lnTo>
                <a:lnTo>
                  <a:pt x="0" y="4139231"/>
                </a:lnTo>
                <a:lnTo>
                  <a:pt x="7950394" y="4139231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9116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">
    <p:bg>
      <p:bgPr>
        <a:gradFill>
          <a:gsLst>
            <a:gs pos="0">
              <a:schemeClr val="accent2"/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/>
        </p:nvSpPr>
        <p:spPr bwMode="hidden">
          <a:xfrm>
            <a:off x="0" y="410049"/>
            <a:ext cx="9144000" cy="47334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9135572 w 9144000"/>
              <a:gd name="connsiteY3" fmla="*/ 115627 h 4847753"/>
              <a:gd name="connsiteX4" fmla="*/ 8872396 w 9144000"/>
              <a:gd name="connsiteY4" fmla="*/ 464744 h 4847753"/>
              <a:gd name="connsiteX5" fmla="*/ 0 w 9144000"/>
              <a:gd name="connsiteY5" fmla="*/ 463205 h 4847753"/>
              <a:gd name="connsiteX6" fmla="*/ 0 w 9144000"/>
              <a:gd name="connsiteY6" fmla="*/ 4847753 h 4847753"/>
              <a:gd name="connsiteX0" fmla="*/ 0 w 9144000"/>
              <a:gd name="connsiteY0" fmla="*/ 4733453 h 4733453"/>
              <a:gd name="connsiteX1" fmla="*/ 9144000 w 9144000"/>
              <a:gd name="connsiteY1" fmla="*/ 4733453 h 4733453"/>
              <a:gd name="connsiteX2" fmla="*/ 9144000 w 9144000"/>
              <a:gd name="connsiteY2" fmla="*/ 0 h 4733453"/>
              <a:gd name="connsiteX3" fmla="*/ 9135572 w 9144000"/>
              <a:gd name="connsiteY3" fmla="*/ 1327 h 4733453"/>
              <a:gd name="connsiteX4" fmla="*/ 8872396 w 9144000"/>
              <a:gd name="connsiteY4" fmla="*/ 350444 h 4733453"/>
              <a:gd name="connsiteX5" fmla="*/ 0 w 9144000"/>
              <a:gd name="connsiteY5" fmla="*/ 348905 h 4733453"/>
              <a:gd name="connsiteX6" fmla="*/ 0 w 9144000"/>
              <a:gd name="connsiteY6" fmla="*/ 4733453 h 4733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4000" h="4733453">
                <a:moveTo>
                  <a:pt x="0" y="4733453"/>
                </a:moveTo>
                <a:lnTo>
                  <a:pt x="9144000" y="4733453"/>
                </a:lnTo>
                <a:lnTo>
                  <a:pt x="9144000" y="0"/>
                </a:lnTo>
                <a:lnTo>
                  <a:pt x="9135572" y="1327"/>
                </a:lnTo>
                <a:lnTo>
                  <a:pt x="8872396" y="350444"/>
                </a:lnTo>
                <a:lnTo>
                  <a:pt x="0" y="348905"/>
                </a:lnTo>
                <a:lnTo>
                  <a:pt x="0" y="47334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911224"/>
            <a:ext cx="8229600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5D8FA6-68AB-4A14-A7AD-22E476017BCB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" y="4828033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457200" y="4873753"/>
            <a:ext cx="213055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cap="all" dirty="0">
                <a:solidFill>
                  <a:prstClr val="black"/>
                </a:solidFill>
              </a:rPr>
              <a:t>SAE INTERNATIONAL</a:t>
            </a:r>
          </a:p>
        </p:txBody>
      </p:sp>
      <p:sp>
        <p:nvSpPr>
          <p:cNvPr id="12" name="Freeform 11"/>
          <p:cNvSpPr/>
          <p:nvPr/>
        </p:nvSpPr>
        <p:spPr bwMode="hidden">
          <a:xfrm>
            <a:off x="0" y="410049"/>
            <a:ext cx="9144000" cy="47334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9135572 w 9144000"/>
              <a:gd name="connsiteY3" fmla="*/ 115627 h 4847753"/>
              <a:gd name="connsiteX4" fmla="*/ 8872396 w 9144000"/>
              <a:gd name="connsiteY4" fmla="*/ 464744 h 4847753"/>
              <a:gd name="connsiteX5" fmla="*/ 0 w 9144000"/>
              <a:gd name="connsiteY5" fmla="*/ 463205 h 4847753"/>
              <a:gd name="connsiteX6" fmla="*/ 0 w 9144000"/>
              <a:gd name="connsiteY6" fmla="*/ 4847753 h 4847753"/>
              <a:gd name="connsiteX0" fmla="*/ 0 w 9144000"/>
              <a:gd name="connsiteY0" fmla="*/ 4733453 h 4733453"/>
              <a:gd name="connsiteX1" fmla="*/ 9144000 w 9144000"/>
              <a:gd name="connsiteY1" fmla="*/ 4733453 h 4733453"/>
              <a:gd name="connsiteX2" fmla="*/ 9144000 w 9144000"/>
              <a:gd name="connsiteY2" fmla="*/ 0 h 4733453"/>
              <a:gd name="connsiteX3" fmla="*/ 9135572 w 9144000"/>
              <a:gd name="connsiteY3" fmla="*/ 1327 h 4733453"/>
              <a:gd name="connsiteX4" fmla="*/ 8872396 w 9144000"/>
              <a:gd name="connsiteY4" fmla="*/ 350444 h 4733453"/>
              <a:gd name="connsiteX5" fmla="*/ 0 w 9144000"/>
              <a:gd name="connsiteY5" fmla="*/ 348905 h 4733453"/>
              <a:gd name="connsiteX6" fmla="*/ 0 w 9144000"/>
              <a:gd name="connsiteY6" fmla="*/ 4733453 h 4733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4000" h="4733453">
                <a:moveTo>
                  <a:pt x="0" y="4733453"/>
                </a:moveTo>
                <a:lnTo>
                  <a:pt x="9144000" y="4733453"/>
                </a:lnTo>
                <a:lnTo>
                  <a:pt x="9144000" y="0"/>
                </a:lnTo>
                <a:lnTo>
                  <a:pt x="9135572" y="1327"/>
                </a:lnTo>
                <a:lnTo>
                  <a:pt x="8872396" y="350444"/>
                </a:lnTo>
                <a:lnTo>
                  <a:pt x="0" y="348905"/>
                </a:lnTo>
                <a:lnTo>
                  <a:pt x="0" y="47334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solidFill>
                <a:schemeClr val="tx1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57200" y="4828033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57200" y="4873753"/>
            <a:ext cx="213055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cap="all" dirty="0">
                <a:solidFill>
                  <a:prstClr val="black"/>
                </a:solidFill>
              </a:rPr>
              <a:t>SAE INTERNATIONAL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556248" y="4868636"/>
            <a:ext cx="213055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b="1" cap="none" baseline="0" dirty="0">
                <a:solidFill>
                  <a:prstClr val="black"/>
                </a:solidFill>
              </a:rPr>
              <a:t>www.awim.org</a:t>
            </a:r>
          </a:p>
        </p:txBody>
      </p:sp>
    </p:spTree>
    <p:extLst>
      <p:ext uri="{BB962C8B-B14F-4D97-AF65-F5344CB8AC3E}">
        <p14:creationId xmlns:p14="http://schemas.microsoft.com/office/powerpoint/2010/main" val="9567613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One-third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/>
          <p:nvPr/>
        </p:nvSpPr>
        <p:spPr bwMode="hidden">
          <a:xfrm>
            <a:off x="0" y="410049"/>
            <a:ext cx="9144000" cy="47334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9135572 w 9144000"/>
              <a:gd name="connsiteY3" fmla="*/ 115627 h 4847753"/>
              <a:gd name="connsiteX4" fmla="*/ 8872396 w 9144000"/>
              <a:gd name="connsiteY4" fmla="*/ 464744 h 4847753"/>
              <a:gd name="connsiteX5" fmla="*/ 0 w 9144000"/>
              <a:gd name="connsiteY5" fmla="*/ 463205 h 4847753"/>
              <a:gd name="connsiteX6" fmla="*/ 0 w 9144000"/>
              <a:gd name="connsiteY6" fmla="*/ 4847753 h 4847753"/>
              <a:gd name="connsiteX0" fmla="*/ 0 w 9144000"/>
              <a:gd name="connsiteY0" fmla="*/ 4733453 h 4733453"/>
              <a:gd name="connsiteX1" fmla="*/ 9144000 w 9144000"/>
              <a:gd name="connsiteY1" fmla="*/ 4733453 h 4733453"/>
              <a:gd name="connsiteX2" fmla="*/ 9144000 w 9144000"/>
              <a:gd name="connsiteY2" fmla="*/ 0 h 4733453"/>
              <a:gd name="connsiteX3" fmla="*/ 9135572 w 9144000"/>
              <a:gd name="connsiteY3" fmla="*/ 1327 h 4733453"/>
              <a:gd name="connsiteX4" fmla="*/ 8872396 w 9144000"/>
              <a:gd name="connsiteY4" fmla="*/ 350444 h 4733453"/>
              <a:gd name="connsiteX5" fmla="*/ 0 w 9144000"/>
              <a:gd name="connsiteY5" fmla="*/ 348905 h 4733453"/>
              <a:gd name="connsiteX6" fmla="*/ 0 w 9144000"/>
              <a:gd name="connsiteY6" fmla="*/ 4733453 h 4733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4000" h="4733453">
                <a:moveTo>
                  <a:pt x="0" y="4733453"/>
                </a:moveTo>
                <a:lnTo>
                  <a:pt x="9144000" y="4733453"/>
                </a:lnTo>
                <a:lnTo>
                  <a:pt x="9144000" y="0"/>
                </a:lnTo>
                <a:lnTo>
                  <a:pt x="9135572" y="1327"/>
                </a:lnTo>
                <a:lnTo>
                  <a:pt x="8872396" y="350444"/>
                </a:lnTo>
                <a:lnTo>
                  <a:pt x="0" y="348905"/>
                </a:lnTo>
                <a:lnTo>
                  <a:pt x="0" y="47334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5D8FA6-68AB-4A14-A7AD-22E476017BC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57200" y="911224"/>
            <a:ext cx="2651760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3246120" y="911224"/>
            <a:ext cx="5440680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57200" y="4828033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57200" y="4873753"/>
            <a:ext cx="213055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dirty="0">
                <a:solidFill>
                  <a:prstClr val="black"/>
                </a:solidFill>
              </a:rPr>
              <a:t>SAE INTERNATIONAL</a:t>
            </a:r>
          </a:p>
        </p:txBody>
      </p:sp>
    </p:spTree>
    <p:extLst>
      <p:ext uri="{BB962C8B-B14F-4D97-AF65-F5344CB8AC3E}">
        <p14:creationId xmlns:p14="http://schemas.microsoft.com/office/powerpoint/2010/main" val="27919085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A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int_sae_sg_720_blk_rgb_wht.png"/>
          <p:cNvPicPr>
            <a:picLocks noChangeAspect="1"/>
          </p:cNvPicPr>
          <p:nvPr userDrawn="1"/>
        </p:nvPicPr>
        <p:blipFill>
          <a:blip r:embed="rId2"/>
          <a:srcRect l="1303"/>
          <a:stretch>
            <a:fillRect/>
          </a:stretch>
        </p:blipFill>
        <p:spPr>
          <a:xfrm rot="-5400000">
            <a:off x="5246044" y="1247178"/>
            <a:ext cx="5143500" cy="2649143"/>
          </a:xfrm>
          <a:prstGeom prst="rect">
            <a:avLst/>
          </a:prstGeom>
        </p:spPr>
      </p:pic>
      <p:grpSp>
        <p:nvGrpSpPr>
          <p:cNvPr id="10" name="Group 9"/>
          <p:cNvGrpSpPr/>
          <p:nvPr userDrawn="1"/>
        </p:nvGrpSpPr>
        <p:grpSpPr bwMode="hidden">
          <a:xfrm>
            <a:off x="0" y="-1"/>
            <a:ext cx="9144000" cy="5143501"/>
            <a:chOff x="0" y="-1"/>
            <a:chExt cx="9144000" cy="5143501"/>
          </a:xfrm>
        </p:grpSpPr>
        <p:sp>
          <p:nvSpPr>
            <p:cNvPr id="8" name="Rectangle 7"/>
            <p:cNvSpPr/>
            <p:nvPr userDrawn="1"/>
          </p:nvSpPr>
          <p:spPr bwMode="hidden">
            <a:xfrm>
              <a:off x="0" y="0"/>
              <a:ext cx="9144000" cy="51435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 descr="int_sae_sg_720_dbl_rgb_wht.png"/>
            <p:cNvPicPr>
              <a:picLocks noChangeAspect="1"/>
            </p:cNvPicPr>
            <p:nvPr userDrawn="1"/>
          </p:nvPicPr>
          <p:blipFill>
            <a:blip r:embed="rId3" cstate="print"/>
            <a:srcRect l="1818"/>
            <a:stretch>
              <a:fillRect/>
            </a:stretch>
          </p:blipFill>
          <p:spPr bwMode="hidden">
            <a:xfrm rot="16200000">
              <a:off x="5238750" y="1238448"/>
              <a:ext cx="5143501" cy="266660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95350"/>
            <a:ext cx="5559552" cy="940274"/>
          </a:xfrm>
        </p:spPr>
        <p:txBody>
          <a:bodyPr anchor="b"/>
          <a:lstStyle>
            <a:lvl1pPr>
              <a:defRPr sz="21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57200" y="438912"/>
            <a:ext cx="55595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+mj-lt"/>
              </a:rPr>
              <a:t>SAE INTERNATIONA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1883391"/>
            <a:ext cx="5562600" cy="2691783"/>
          </a:xfrm>
        </p:spPr>
        <p:txBody>
          <a:bodyPr>
            <a:noAutofit/>
          </a:bodyPr>
          <a:lstStyle>
            <a:lvl1pPr marL="0" indent="0" algn="l">
              <a:buNone/>
              <a:defRPr sz="2100" b="0" cap="none" baseline="0">
                <a:solidFill>
                  <a:schemeClr val="bg1"/>
                </a:solidFill>
              </a:defRPr>
            </a:lvl1pPr>
            <a:lvl2pPr marL="0" indent="0" algn="l">
              <a:buNone/>
              <a:defRPr sz="2100">
                <a:solidFill>
                  <a:schemeClr val="bg1"/>
                </a:solidFill>
              </a:defRPr>
            </a:lvl2pPr>
            <a:lvl3pPr marL="0" indent="0" algn="l">
              <a:buNone/>
              <a:defRPr sz="2100">
                <a:solidFill>
                  <a:schemeClr val="bg1"/>
                </a:solidFill>
              </a:defRPr>
            </a:lvl3pPr>
            <a:lvl4pPr marL="0" indent="0" algn="l">
              <a:buNone/>
              <a:defRPr sz="2100">
                <a:solidFill>
                  <a:schemeClr val="bg1"/>
                </a:solidFill>
              </a:defRPr>
            </a:lvl4pPr>
            <a:lvl5pPr marL="0" indent="0" algn="l">
              <a:buNone/>
              <a:tabLst/>
              <a:defRPr sz="210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10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10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10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z="2100" dirty="0"/>
              <a:t>Click to edit subhead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2286000" y="4917073"/>
            <a:ext cx="4572000" cy="1692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/>
            <a:r>
              <a:rPr lang="en-US" sz="500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opyright </a:t>
            </a:r>
            <a:r>
              <a:rPr lang="en-US" sz="5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</a:t>
            </a:r>
            <a:r>
              <a:rPr lang="en-US" sz="500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SAE International.  Further use or distribution is not permitted without permission from SAE</a:t>
            </a:r>
            <a:endParaRPr lang="en-US" sz="5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 Columns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/>
        </p:nvSpPr>
        <p:spPr bwMode="hidden">
          <a:xfrm>
            <a:off x="0" y="410049"/>
            <a:ext cx="9144000" cy="47334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9135572 w 9144000"/>
              <a:gd name="connsiteY3" fmla="*/ 115627 h 4847753"/>
              <a:gd name="connsiteX4" fmla="*/ 8872396 w 9144000"/>
              <a:gd name="connsiteY4" fmla="*/ 464744 h 4847753"/>
              <a:gd name="connsiteX5" fmla="*/ 0 w 9144000"/>
              <a:gd name="connsiteY5" fmla="*/ 463205 h 4847753"/>
              <a:gd name="connsiteX6" fmla="*/ 0 w 9144000"/>
              <a:gd name="connsiteY6" fmla="*/ 4847753 h 4847753"/>
              <a:gd name="connsiteX0" fmla="*/ 0 w 9144000"/>
              <a:gd name="connsiteY0" fmla="*/ 4733453 h 4733453"/>
              <a:gd name="connsiteX1" fmla="*/ 9144000 w 9144000"/>
              <a:gd name="connsiteY1" fmla="*/ 4733453 h 4733453"/>
              <a:gd name="connsiteX2" fmla="*/ 9144000 w 9144000"/>
              <a:gd name="connsiteY2" fmla="*/ 0 h 4733453"/>
              <a:gd name="connsiteX3" fmla="*/ 9135572 w 9144000"/>
              <a:gd name="connsiteY3" fmla="*/ 1327 h 4733453"/>
              <a:gd name="connsiteX4" fmla="*/ 8872396 w 9144000"/>
              <a:gd name="connsiteY4" fmla="*/ 350444 h 4733453"/>
              <a:gd name="connsiteX5" fmla="*/ 0 w 9144000"/>
              <a:gd name="connsiteY5" fmla="*/ 348905 h 4733453"/>
              <a:gd name="connsiteX6" fmla="*/ 0 w 9144000"/>
              <a:gd name="connsiteY6" fmla="*/ 4733453 h 4733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4000" h="4733453">
                <a:moveTo>
                  <a:pt x="0" y="4733453"/>
                </a:moveTo>
                <a:lnTo>
                  <a:pt x="9144000" y="4733453"/>
                </a:lnTo>
                <a:lnTo>
                  <a:pt x="9144000" y="0"/>
                </a:lnTo>
                <a:lnTo>
                  <a:pt x="9135572" y="1327"/>
                </a:lnTo>
                <a:lnTo>
                  <a:pt x="8872396" y="350444"/>
                </a:lnTo>
                <a:lnTo>
                  <a:pt x="0" y="348905"/>
                </a:lnTo>
                <a:lnTo>
                  <a:pt x="0" y="47334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5D8FA6-68AB-4A14-A7AD-22E476017BC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57200" y="911224"/>
            <a:ext cx="4050792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636008" y="911224"/>
            <a:ext cx="4050792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57200" y="4828033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457200" y="4873753"/>
            <a:ext cx="213055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cap="all" dirty="0">
                <a:solidFill>
                  <a:prstClr val="black"/>
                </a:solidFill>
              </a:rPr>
              <a:t>SAE INTERNATIONAL</a:t>
            </a:r>
          </a:p>
        </p:txBody>
      </p:sp>
    </p:spTree>
    <p:extLst>
      <p:ext uri="{BB962C8B-B14F-4D97-AF65-F5344CB8AC3E}">
        <p14:creationId xmlns:p14="http://schemas.microsoft.com/office/powerpoint/2010/main" val="23168009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Two-thirds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 10"/>
          <p:cNvSpPr/>
          <p:nvPr/>
        </p:nvSpPr>
        <p:spPr bwMode="hidden">
          <a:xfrm>
            <a:off x="0" y="410049"/>
            <a:ext cx="9144000" cy="47334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9135572 w 9144000"/>
              <a:gd name="connsiteY3" fmla="*/ 115627 h 4847753"/>
              <a:gd name="connsiteX4" fmla="*/ 8872396 w 9144000"/>
              <a:gd name="connsiteY4" fmla="*/ 464744 h 4847753"/>
              <a:gd name="connsiteX5" fmla="*/ 0 w 9144000"/>
              <a:gd name="connsiteY5" fmla="*/ 463205 h 4847753"/>
              <a:gd name="connsiteX6" fmla="*/ 0 w 9144000"/>
              <a:gd name="connsiteY6" fmla="*/ 4847753 h 4847753"/>
              <a:gd name="connsiteX0" fmla="*/ 0 w 9144000"/>
              <a:gd name="connsiteY0" fmla="*/ 4733453 h 4733453"/>
              <a:gd name="connsiteX1" fmla="*/ 9144000 w 9144000"/>
              <a:gd name="connsiteY1" fmla="*/ 4733453 h 4733453"/>
              <a:gd name="connsiteX2" fmla="*/ 9144000 w 9144000"/>
              <a:gd name="connsiteY2" fmla="*/ 0 h 4733453"/>
              <a:gd name="connsiteX3" fmla="*/ 9135572 w 9144000"/>
              <a:gd name="connsiteY3" fmla="*/ 1327 h 4733453"/>
              <a:gd name="connsiteX4" fmla="*/ 8872396 w 9144000"/>
              <a:gd name="connsiteY4" fmla="*/ 350444 h 4733453"/>
              <a:gd name="connsiteX5" fmla="*/ 0 w 9144000"/>
              <a:gd name="connsiteY5" fmla="*/ 348905 h 4733453"/>
              <a:gd name="connsiteX6" fmla="*/ 0 w 9144000"/>
              <a:gd name="connsiteY6" fmla="*/ 4733453 h 4733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4000" h="4733453">
                <a:moveTo>
                  <a:pt x="0" y="4733453"/>
                </a:moveTo>
                <a:lnTo>
                  <a:pt x="9144000" y="4733453"/>
                </a:lnTo>
                <a:lnTo>
                  <a:pt x="9144000" y="0"/>
                </a:lnTo>
                <a:lnTo>
                  <a:pt x="9135572" y="1327"/>
                </a:lnTo>
                <a:lnTo>
                  <a:pt x="8872396" y="350444"/>
                </a:lnTo>
                <a:lnTo>
                  <a:pt x="0" y="348905"/>
                </a:lnTo>
                <a:lnTo>
                  <a:pt x="0" y="47334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5D8FA6-68AB-4A14-A7AD-22E476017BC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457200" y="911224"/>
            <a:ext cx="5440680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035040" y="911224"/>
            <a:ext cx="2651760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57200" y="4828033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457200" y="4873753"/>
            <a:ext cx="213055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cap="all" dirty="0">
                <a:solidFill>
                  <a:prstClr val="black"/>
                </a:solidFill>
              </a:rPr>
              <a:t>SAE INTERNATIONAL</a:t>
            </a:r>
          </a:p>
        </p:txBody>
      </p:sp>
    </p:spTree>
    <p:extLst>
      <p:ext uri="{BB962C8B-B14F-4D97-AF65-F5344CB8AC3E}">
        <p14:creationId xmlns:p14="http://schemas.microsoft.com/office/powerpoint/2010/main" val="14596963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hidden">
          <a:xfrm>
            <a:off x="0" y="410049"/>
            <a:ext cx="9144000" cy="47334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9135572 w 9144000"/>
              <a:gd name="connsiteY3" fmla="*/ 115627 h 4847753"/>
              <a:gd name="connsiteX4" fmla="*/ 8872396 w 9144000"/>
              <a:gd name="connsiteY4" fmla="*/ 464744 h 4847753"/>
              <a:gd name="connsiteX5" fmla="*/ 0 w 9144000"/>
              <a:gd name="connsiteY5" fmla="*/ 463205 h 4847753"/>
              <a:gd name="connsiteX6" fmla="*/ 0 w 9144000"/>
              <a:gd name="connsiteY6" fmla="*/ 4847753 h 4847753"/>
              <a:gd name="connsiteX0" fmla="*/ 0 w 9144000"/>
              <a:gd name="connsiteY0" fmla="*/ 4733453 h 4733453"/>
              <a:gd name="connsiteX1" fmla="*/ 9144000 w 9144000"/>
              <a:gd name="connsiteY1" fmla="*/ 4733453 h 4733453"/>
              <a:gd name="connsiteX2" fmla="*/ 9144000 w 9144000"/>
              <a:gd name="connsiteY2" fmla="*/ 0 h 4733453"/>
              <a:gd name="connsiteX3" fmla="*/ 9135572 w 9144000"/>
              <a:gd name="connsiteY3" fmla="*/ 1327 h 4733453"/>
              <a:gd name="connsiteX4" fmla="*/ 8872396 w 9144000"/>
              <a:gd name="connsiteY4" fmla="*/ 350444 h 4733453"/>
              <a:gd name="connsiteX5" fmla="*/ 0 w 9144000"/>
              <a:gd name="connsiteY5" fmla="*/ 348905 h 4733453"/>
              <a:gd name="connsiteX6" fmla="*/ 0 w 9144000"/>
              <a:gd name="connsiteY6" fmla="*/ 4733453 h 4733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4000" h="4733453">
                <a:moveTo>
                  <a:pt x="0" y="4733453"/>
                </a:moveTo>
                <a:lnTo>
                  <a:pt x="9144000" y="4733453"/>
                </a:lnTo>
                <a:lnTo>
                  <a:pt x="9144000" y="0"/>
                </a:lnTo>
                <a:lnTo>
                  <a:pt x="9135572" y="1327"/>
                </a:lnTo>
                <a:lnTo>
                  <a:pt x="8872396" y="350444"/>
                </a:lnTo>
                <a:lnTo>
                  <a:pt x="0" y="348905"/>
                </a:lnTo>
                <a:lnTo>
                  <a:pt x="0" y="47334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5D8FA6-68AB-4A14-A7AD-22E476017BCB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" y="4828033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16"/>
          <p:cNvSpPr>
            <a:spLocks noGrp="1"/>
          </p:cNvSpPr>
          <p:nvPr>
            <p:ph sz="quarter" idx="13" hasCustomPrompt="1"/>
          </p:nvPr>
        </p:nvSpPr>
        <p:spPr>
          <a:xfrm>
            <a:off x="457200" y="914400"/>
            <a:ext cx="2651760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4" hasCustomPrompt="1"/>
          </p:nvPr>
        </p:nvSpPr>
        <p:spPr>
          <a:xfrm>
            <a:off x="3246120" y="914400"/>
            <a:ext cx="2651760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5" hasCustomPrompt="1"/>
          </p:nvPr>
        </p:nvSpPr>
        <p:spPr>
          <a:xfrm>
            <a:off x="6035040" y="914400"/>
            <a:ext cx="2651760" cy="3657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7200" y="4873753"/>
            <a:ext cx="213055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cap="all" dirty="0">
                <a:solidFill>
                  <a:prstClr val="black"/>
                </a:solidFill>
              </a:rPr>
              <a:t>SAE INTERNATIONAL</a:t>
            </a:r>
          </a:p>
        </p:txBody>
      </p:sp>
    </p:spTree>
    <p:extLst>
      <p:ext uri="{BB962C8B-B14F-4D97-AF65-F5344CB8AC3E}">
        <p14:creationId xmlns:p14="http://schemas.microsoft.com/office/powerpoint/2010/main" val="9173716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Bottom Two Columns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hidden">
          <a:xfrm>
            <a:off x="0" y="410049"/>
            <a:ext cx="9144000" cy="47334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9135572 w 9144000"/>
              <a:gd name="connsiteY3" fmla="*/ 115627 h 4847753"/>
              <a:gd name="connsiteX4" fmla="*/ 8872396 w 9144000"/>
              <a:gd name="connsiteY4" fmla="*/ 464744 h 4847753"/>
              <a:gd name="connsiteX5" fmla="*/ 0 w 9144000"/>
              <a:gd name="connsiteY5" fmla="*/ 463205 h 4847753"/>
              <a:gd name="connsiteX6" fmla="*/ 0 w 9144000"/>
              <a:gd name="connsiteY6" fmla="*/ 4847753 h 4847753"/>
              <a:gd name="connsiteX0" fmla="*/ 0 w 9144000"/>
              <a:gd name="connsiteY0" fmla="*/ 4733453 h 4733453"/>
              <a:gd name="connsiteX1" fmla="*/ 9144000 w 9144000"/>
              <a:gd name="connsiteY1" fmla="*/ 4733453 h 4733453"/>
              <a:gd name="connsiteX2" fmla="*/ 9144000 w 9144000"/>
              <a:gd name="connsiteY2" fmla="*/ 0 h 4733453"/>
              <a:gd name="connsiteX3" fmla="*/ 9135572 w 9144000"/>
              <a:gd name="connsiteY3" fmla="*/ 1327 h 4733453"/>
              <a:gd name="connsiteX4" fmla="*/ 8872396 w 9144000"/>
              <a:gd name="connsiteY4" fmla="*/ 350444 h 4733453"/>
              <a:gd name="connsiteX5" fmla="*/ 0 w 9144000"/>
              <a:gd name="connsiteY5" fmla="*/ 348905 h 4733453"/>
              <a:gd name="connsiteX6" fmla="*/ 0 w 9144000"/>
              <a:gd name="connsiteY6" fmla="*/ 4733453 h 4733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4000" h="4733453">
                <a:moveTo>
                  <a:pt x="0" y="4733453"/>
                </a:moveTo>
                <a:lnTo>
                  <a:pt x="9144000" y="4733453"/>
                </a:lnTo>
                <a:lnTo>
                  <a:pt x="9144000" y="0"/>
                </a:lnTo>
                <a:lnTo>
                  <a:pt x="9135572" y="1327"/>
                </a:lnTo>
                <a:lnTo>
                  <a:pt x="8872396" y="350444"/>
                </a:lnTo>
                <a:lnTo>
                  <a:pt x="0" y="348905"/>
                </a:lnTo>
                <a:lnTo>
                  <a:pt x="0" y="47334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911226"/>
            <a:ext cx="8229600" cy="125590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5D8FA6-68AB-4A14-A7AD-22E476017BCB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" y="4828033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457200" y="2286000"/>
            <a:ext cx="4050792" cy="228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4" hasCustomPrompt="1"/>
          </p:nvPr>
        </p:nvSpPr>
        <p:spPr>
          <a:xfrm>
            <a:off x="4636008" y="2286000"/>
            <a:ext cx="4050792" cy="228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7200" y="4873753"/>
            <a:ext cx="213055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cap="all" dirty="0">
                <a:solidFill>
                  <a:prstClr val="black"/>
                </a:solidFill>
              </a:rPr>
              <a:t>SAE INTERNATIONAL</a:t>
            </a:r>
          </a:p>
        </p:txBody>
      </p:sp>
    </p:spTree>
    <p:extLst>
      <p:ext uri="{BB962C8B-B14F-4D97-AF65-F5344CB8AC3E}">
        <p14:creationId xmlns:p14="http://schemas.microsoft.com/office/powerpoint/2010/main" val="34842964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Bottom Three Columns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/>
          <p:nvPr/>
        </p:nvSpPr>
        <p:spPr bwMode="hidden">
          <a:xfrm>
            <a:off x="0" y="410049"/>
            <a:ext cx="9144000" cy="47334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9135572 w 9144000"/>
              <a:gd name="connsiteY3" fmla="*/ 115627 h 4847753"/>
              <a:gd name="connsiteX4" fmla="*/ 8872396 w 9144000"/>
              <a:gd name="connsiteY4" fmla="*/ 464744 h 4847753"/>
              <a:gd name="connsiteX5" fmla="*/ 0 w 9144000"/>
              <a:gd name="connsiteY5" fmla="*/ 463205 h 4847753"/>
              <a:gd name="connsiteX6" fmla="*/ 0 w 9144000"/>
              <a:gd name="connsiteY6" fmla="*/ 4847753 h 4847753"/>
              <a:gd name="connsiteX0" fmla="*/ 0 w 9144000"/>
              <a:gd name="connsiteY0" fmla="*/ 4733453 h 4733453"/>
              <a:gd name="connsiteX1" fmla="*/ 9144000 w 9144000"/>
              <a:gd name="connsiteY1" fmla="*/ 4733453 h 4733453"/>
              <a:gd name="connsiteX2" fmla="*/ 9144000 w 9144000"/>
              <a:gd name="connsiteY2" fmla="*/ 0 h 4733453"/>
              <a:gd name="connsiteX3" fmla="*/ 9135572 w 9144000"/>
              <a:gd name="connsiteY3" fmla="*/ 1327 h 4733453"/>
              <a:gd name="connsiteX4" fmla="*/ 8872396 w 9144000"/>
              <a:gd name="connsiteY4" fmla="*/ 350444 h 4733453"/>
              <a:gd name="connsiteX5" fmla="*/ 0 w 9144000"/>
              <a:gd name="connsiteY5" fmla="*/ 348905 h 4733453"/>
              <a:gd name="connsiteX6" fmla="*/ 0 w 9144000"/>
              <a:gd name="connsiteY6" fmla="*/ 4733453 h 4733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4000" h="4733453">
                <a:moveTo>
                  <a:pt x="0" y="4733453"/>
                </a:moveTo>
                <a:lnTo>
                  <a:pt x="9144000" y="4733453"/>
                </a:lnTo>
                <a:lnTo>
                  <a:pt x="9144000" y="0"/>
                </a:lnTo>
                <a:lnTo>
                  <a:pt x="9135572" y="1327"/>
                </a:lnTo>
                <a:lnTo>
                  <a:pt x="8872396" y="350444"/>
                </a:lnTo>
                <a:lnTo>
                  <a:pt x="0" y="348905"/>
                </a:lnTo>
                <a:lnTo>
                  <a:pt x="0" y="47334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911226"/>
            <a:ext cx="8229600" cy="15843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5D8FA6-68AB-4A14-A7AD-22E476017BCB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" y="4828033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16"/>
          <p:cNvSpPr>
            <a:spLocks noGrp="1"/>
          </p:cNvSpPr>
          <p:nvPr>
            <p:ph sz="quarter" idx="13" hasCustomPrompt="1"/>
          </p:nvPr>
        </p:nvSpPr>
        <p:spPr>
          <a:xfrm>
            <a:off x="457200" y="2606040"/>
            <a:ext cx="2651760" cy="19659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4" hasCustomPrompt="1"/>
          </p:nvPr>
        </p:nvSpPr>
        <p:spPr>
          <a:xfrm>
            <a:off x="3246120" y="2606040"/>
            <a:ext cx="2651760" cy="19659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5" hasCustomPrompt="1"/>
          </p:nvPr>
        </p:nvSpPr>
        <p:spPr>
          <a:xfrm>
            <a:off x="6035040" y="2606040"/>
            <a:ext cx="2651760" cy="19659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57200" y="4873753"/>
            <a:ext cx="213055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cap="all" dirty="0">
                <a:solidFill>
                  <a:prstClr val="black"/>
                </a:solidFill>
              </a:rPr>
              <a:t>SAE INTERNATIONAL</a:t>
            </a:r>
          </a:p>
        </p:txBody>
      </p:sp>
    </p:spTree>
    <p:extLst>
      <p:ext uri="{BB962C8B-B14F-4D97-AF65-F5344CB8AC3E}">
        <p14:creationId xmlns:p14="http://schemas.microsoft.com/office/powerpoint/2010/main" val="2616930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Columns with Captions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 26"/>
          <p:cNvSpPr/>
          <p:nvPr/>
        </p:nvSpPr>
        <p:spPr bwMode="hidden">
          <a:xfrm>
            <a:off x="0" y="410049"/>
            <a:ext cx="9144000" cy="47334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9135572 w 9144000"/>
              <a:gd name="connsiteY3" fmla="*/ 115627 h 4847753"/>
              <a:gd name="connsiteX4" fmla="*/ 8872396 w 9144000"/>
              <a:gd name="connsiteY4" fmla="*/ 464744 h 4847753"/>
              <a:gd name="connsiteX5" fmla="*/ 0 w 9144000"/>
              <a:gd name="connsiteY5" fmla="*/ 463205 h 4847753"/>
              <a:gd name="connsiteX6" fmla="*/ 0 w 9144000"/>
              <a:gd name="connsiteY6" fmla="*/ 4847753 h 4847753"/>
              <a:gd name="connsiteX0" fmla="*/ 0 w 9144000"/>
              <a:gd name="connsiteY0" fmla="*/ 4733453 h 4733453"/>
              <a:gd name="connsiteX1" fmla="*/ 9144000 w 9144000"/>
              <a:gd name="connsiteY1" fmla="*/ 4733453 h 4733453"/>
              <a:gd name="connsiteX2" fmla="*/ 9144000 w 9144000"/>
              <a:gd name="connsiteY2" fmla="*/ 0 h 4733453"/>
              <a:gd name="connsiteX3" fmla="*/ 9135572 w 9144000"/>
              <a:gd name="connsiteY3" fmla="*/ 1327 h 4733453"/>
              <a:gd name="connsiteX4" fmla="*/ 8872396 w 9144000"/>
              <a:gd name="connsiteY4" fmla="*/ 350444 h 4733453"/>
              <a:gd name="connsiteX5" fmla="*/ 0 w 9144000"/>
              <a:gd name="connsiteY5" fmla="*/ 348905 h 4733453"/>
              <a:gd name="connsiteX6" fmla="*/ 0 w 9144000"/>
              <a:gd name="connsiteY6" fmla="*/ 4733453 h 4733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44000" h="4733453">
                <a:moveTo>
                  <a:pt x="0" y="4733453"/>
                </a:moveTo>
                <a:lnTo>
                  <a:pt x="9144000" y="4733453"/>
                </a:lnTo>
                <a:lnTo>
                  <a:pt x="9144000" y="0"/>
                </a:lnTo>
                <a:lnTo>
                  <a:pt x="9135572" y="1327"/>
                </a:lnTo>
                <a:lnTo>
                  <a:pt x="8872396" y="350444"/>
                </a:lnTo>
                <a:lnTo>
                  <a:pt x="0" y="348905"/>
                </a:lnTo>
                <a:lnTo>
                  <a:pt x="0" y="47334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5D8FA6-68AB-4A14-A7AD-22E476017BCB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57200" y="4828033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57200" y="4873753"/>
            <a:ext cx="213055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cap="all" dirty="0">
                <a:solidFill>
                  <a:prstClr val="black"/>
                </a:solidFill>
              </a:rPr>
              <a:t>SAE INTERNATIONA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3" hasCustomPrompt="1"/>
          </p:nvPr>
        </p:nvSpPr>
        <p:spPr>
          <a:xfrm>
            <a:off x="457200" y="914400"/>
            <a:ext cx="2651760" cy="12801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4" hasCustomPrompt="1"/>
          </p:nvPr>
        </p:nvSpPr>
        <p:spPr>
          <a:xfrm>
            <a:off x="3246120" y="914400"/>
            <a:ext cx="2651760" cy="12801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5" hasCustomPrompt="1"/>
          </p:nvPr>
        </p:nvSpPr>
        <p:spPr>
          <a:xfrm>
            <a:off x="6035040" y="914400"/>
            <a:ext cx="2651760" cy="12801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2266950"/>
            <a:ext cx="2651760" cy="365760"/>
          </a:xfrm>
        </p:spPr>
        <p:txBody>
          <a:bodyPr/>
          <a:lstStyle>
            <a:lvl1pPr marL="0" indent="0">
              <a:buFont typeface="Arial" pitchFamily="34" charset="0"/>
              <a:buNone/>
              <a:defRPr sz="750" b="0"/>
            </a:lvl1pPr>
            <a:lvl2pPr marL="0" indent="0">
              <a:buFont typeface="Arial" pitchFamily="34" charset="0"/>
              <a:buNone/>
              <a:defRPr sz="750" b="0"/>
            </a:lvl2pPr>
            <a:lvl3pPr marL="0" indent="0">
              <a:buNone/>
              <a:defRPr sz="750" b="0"/>
            </a:lvl3pPr>
            <a:lvl4pPr marL="0" indent="0">
              <a:buNone/>
              <a:defRPr sz="750" b="0"/>
            </a:lvl4pPr>
            <a:lvl5pPr marL="0" indent="0">
              <a:buNone/>
              <a:defRPr sz="750" b="0"/>
            </a:lvl5pPr>
            <a:lvl6pPr marL="0" indent="0">
              <a:buNone/>
              <a:defRPr sz="750"/>
            </a:lvl6pPr>
            <a:lvl8pPr marL="0" indent="0">
              <a:buNone/>
              <a:defRPr sz="750"/>
            </a:lvl8pPr>
            <a:lvl9pPr marL="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3246120" y="2266950"/>
            <a:ext cx="2651760" cy="365760"/>
          </a:xfrm>
        </p:spPr>
        <p:txBody>
          <a:bodyPr/>
          <a:lstStyle>
            <a:lvl1pPr marL="0" indent="0">
              <a:buFont typeface="Arial" pitchFamily="34" charset="0"/>
              <a:buNone/>
              <a:defRPr sz="750" b="0"/>
            </a:lvl1pPr>
            <a:lvl2pPr marL="0" indent="0">
              <a:buFont typeface="Arial" pitchFamily="34" charset="0"/>
              <a:buNone/>
              <a:defRPr sz="750" b="0"/>
            </a:lvl2pPr>
            <a:lvl3pPr marL="0" indent="0">
              <a:buNone/>
              <a:defRPr sz="750" b="0"/>
            </a:lvl3pPr>
            <a:lvl4pPr marL="0" indent="0">
              <a:buNone/>
              <a:defRPr sz="750" b="0"/>
            </a:lvl4pPr>
            <a:lvl5pPr marL="0" indent="0">
              <a:buNone/>
              <a:defRPr sz="750" b="0"/>
            </a:lvl5pPr>
            <a:lvl6pPr marL="0" indent="0">
              <a:buNone/>
              <a:defRPr sz="750"/>
            </a:lvl6pPr>
            <a:lvl8pPr marL="0" indent="0">
              <a:buNone/>
              <a:defRPr sz="750"/>
            </a:lvl8pPr>
            <a:lvl9pPr marL="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6035040" y="2266950"/>
            <a:ext cx="2651760" cy="365760"/>
          </a:xfrm>
        </p:spPr>
        <p:txBody>
          <a:bodyPr/>
          <a:lstStyle>
            <a:lvl1pPr marL="0" indent="0">
              <a:buFont typeface="Arial" pitchFamily="34" charset="0"/>
              <a:buNone/>
              <a:defRPr sz="750" b="0"/>
            </a:lvl1pPr>
            <a:lvl2pPr marL="0" indent="0">
              <a:buFont typeface="Arial" pitchFamily="34" charset="0"/>
              <a:buNone/>
              <a:defRPr sz="750" b="0"/>
            </a:lvl2pPr>
            <a:lvl3pPr marL="0" indent="0">
              <a:buNone/>
              <a:defRPr sz="750" b="0"/>
            </a:lvl3pPr>
            <a:lvl4pPr marL="0" indent="0">
              <a:buNone/>
              <a:defRPr sz="750" b="0"/>
            </a:lvl4pPr>
            <a:lvl5pPr marL="0" indent="0">
              <a:buNone/>
              <a:defRPr sz="750" b="0"/>
            </a:lvl5pPr>
            <a:lvl6pPr marL="0" indent="0">
              <a:buNone/>
              <a:defRPr sz="750"/>
            </a:lvl6pPr>
            <a:lvl8pPr marL="0" indent="0">
              <a:buNone/>
              <a:defRPr sz="750"/>
            </a:lvl8pPr>
            <a:lvl9pPr marL="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16"/>
          <p:cNvSpPr>
            <a:spLocks noGrp="1"/>
          </p:cNvSpPr>
          <p:nvPr>
            <p:ph sz="quarter" idx="19" hasCustomPrompt="1"/>
          </p:nvPr>
        </p:nvSpPr>
        <p:spPr>
          <a:xfrm>
            <a:off x="457200" y="2854139"/>
            <a:ext cx="2651760" cy="12801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3246120" y="2854139"/>
            <a:ext cx="2651760" cy="12801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Content Placeholder 20"/>
          <p:cNvSpPr>
            <a:spLocks noGrp="1"/>
          </p:cNvSpPr>
          <p:nvPr>
            <p:ph sz="quarter" idx="21" hasCustomPrompt="1"/>
          </p:nvPr>
        </p:nvSpPr>
        <p:spPr>
          <a:xfrm>
            <a:off x="6035040" y="2854139"/>
            <a:ext cx="2651760" cy="12801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4206689"/>
            <a:ext cx="2651760" cy="365760"/>
          </a:xfrm>
        </p:spPr>
        <p:txBody>
          <a:bodyPr/>
          <a:lstStyle>
            <a:lvl1pPr marL="0" indent="0">
              <a:buFont typeface="Arial" pitchFamily="34" charset="0"/>
              <a:buNone/>
              <a:defRPr sz="750" b="0"/>
            </a:lvl1pPr>
            <a:lvl2pPr marL="0" indent="0">
              <a:buFont typeface="Arial" pitchFamily="34" charset="0"/>
              <a:buNone/>
              <a:defRPr sz="750" b="0"/>
            </a:lvl2pPr>
            <a:lvl3pPr marL="0" indent="0">
              <a:buNone/>
              <a:defRPr sz="750" b="0"/>
            </a:lvl3pPr>
            <a:lvl4pPr marL="0" indent="0">
              <a:buNone/>
              <a:defRPr sz="750" b="0"/>
            </a:lvl4pPr>
            <a:lvl5pPr marL="0" indent="0">
              <a:buNone/>
              <a:defRPr sz="750" b="0"/>
            </a:lvl5pPr>
            <a:lvl6pPr marL="0" indent="0">
              <a:buNone/>
              <a:defRPr sz="750"/>
            </a:lvl6pPr>
            <a:lvl8pPr marL="0" indent="0">
              <a:buNone/>
              <a:defRPr sz="750"/>
            </a:lvl8pPr>
            <a:lvl9pPr marL="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23" hasCustomPrompt="1"/>
          </p:nvPr>
        </p:nvSpPr>
        <p:spPr>
          <a:xfrm>
            <a:off x="3246120" y="4206689"/>
            <a:ext cx="2651760" cy="365760"/>
          </a:xfrm>
        </p:spPr>
        <p:txBody>
          <a:bodyPr/>
          <a:lstStyle>
            <a:lvl1pPr marL="0" indent="0">
              <a:buFont typeface="Arial" pitchFamily="34" charset="0"/>
              <a:buNone/>
              <a:defRPr sz="750" b="0"/>
            </a:lvl1pPr>
            <a:lvl2pPr marL="0" indent="0">
              <a:buFont typeface="Arial" pitchFamily="34" charset="0"/>
              <a:buNone/>
              <a:defRPr sz="750" b="0"/>
            </a:lvl2pPr>
            <a:lvl3pPr marL="0" indent="0">
              <a:buNone/>
              <a:defRPr sz="750" b="0"/>
            </a:lvl3pPr>
            <a:lvl4pPr marL="0" indent="0">
              <a:buNone/>
              <a:defRPr sz="750" b="0"/>
            </a:lvl4pPr>
            <a:lvl5pPr marL="0" indent="0">
              <a:buNone/>
              <a:defRPr sz="750" b="0"/>
            </a:lvl5pPr>
            <a:lvl6pPr marL="0" indent="0">
              <a:buNone/>
              <a:defRPr sz="750"/>
            </a:lvl6pPr>
            <a:lvl8pPr marL="0" indent="0">
              <a:buNone/>
              <a:defRPr sz="750"/>
            </a:lvl8pPr>
            <a:lvl9pPr marL="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6035040" y="4206689"/>
            <a:ext cx="2651760" cy="365760"/>
          </a:xfrm>
        </p:spPr>
        <p:txBody>
          <a:bodyPr/>
          <a:lstStyle>
            <a:lvl1pPr marL="0" indent="0">
              <a:buFont typeface="Arial" pitchFamily="34" charset="0"/>
              <a:buNone/>
              <a:defRPr sz="750" b="0"/>
            </a:lvl1pPr>
            <a:lvl2pPr marL="0" indent="0">
              <a:buFont typeface="Arial" pitchFamily="34" charset="0"/>
              <a:buNone/>
              <a:defRPr sz="750" b="0"/>
            </a:lvl2pPr>
            <a:lvl3pPr marL="0" indent="0">
              <a:buNone/>
              <a:defRPr sz="750" b="0"/>
            </a:lvl3pPr>
            <a:lvl4pPr marL="0" indent="0">
              <a:buNone/>
              <a:defRPr sz="750" b="0"/>
            </a:lvl4pPr>
            <a:lvl5pPr marL="0" indent="0">
              <a:buNone/>
              <a:defRPr sz="750" b="0"/>
            </a:lvl5pPr>
            <a:lvl6pPr marL="0" indent="0">
              <a:buNone/>
              <a:defRPr sz="750"/>
            </a:lvl6pPr>
            <a:lvl8pPr marL="0" indent="0">
              <a:buNone/>
              <a:defRPr sz="750"/>
            </a:lvl8pPr>
            <a:lvl9pPr marL="0" indent="0">
              <a:buNone/>
              <a:defRPr sz="75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82612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SAE Bo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int_sae_vrt_blk_rgb_po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4440" y="4261106"/>
            <a:ext cx="920498" cy="609601"/>
          </a:xfrm>
          <a:prstGeom prst="rect">
            <a:avLst/>
          </a:prstGeom>
        </p:spPr>
      </p:pic>
      <p:grpSp>
        <p:nvGrpSpPr>
          <p:cNvPr id="6" name="Group 9"/>
          <p:cNvGrpSpPr/>
          <p:nvPr/>
        </p:nvGrpSpPr>
        <p:grpSpPr bwMode="hidden">
          <a:xfrm>
            <a:off x="0" y="0"/>
            <a:ext cx="9144000" cy="5143500"/>
            <a:chOff x="0" y="0"/>
            <a:chExt cx="9144000" cy="5143500"/>
          </a:xfrm>
        </p:grpSpPr>
        <p:sp>
          <p:nvSpPr>
            <p:cNvPr id="8" name="Rectangle 7"/>
            <p:cNvSpPr/>
            <p:nvPr userDrawn="1"/>
          </p:nvSpPr>
          <p:spPr bwMode="hidden">
            <a:xfrm>
              <a:off x="0" y="0"/>
              <a:ext cx="457200" cy="5143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 bwMode="hidden">
            <a:xfrm>
              <a:off x="8686800" y="0"/>
              <a:ext cx="457200" cy="5143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 bwMode="hidden">
            <a:xfrm>
              <a:off x="0" y="3790950"/>
              <a:ext cx="9144000" cy="13525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 bwMode="hidden">
            <a:xfrm rot="-3540000">
              <a:off x="8483424" y="3474150"/>
              <a:ext cx="561406" cy="4727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685803" y="1628774"/>
            <a:ext cx="7731125" cy="1933575"/>
          </a:xfrm>
        </p:spPr>
        <p:txBody>
          <a:bodyPr/>
          <a:lstStyle>
            <a:lvl1pPr marL="0" indent="0">
              <a:buFont typeface="Arial" pitchFamily="34" charset="0"/>
              <a:buNone/>
              <a:defRPr sz="1575" b="0">
                <a:latin typeface="+mn-lt"/>
              </a:defRPr>
            </a:lvl1pPr>
            <a:lvl2pPr marL="0" indent="0">
              <a:buFont typeface="Arial" pitchFamily="34" charset="0"/>
              <a:buNone/>
              <a:defRPr sz="1575" b="0">
                <a:latin typeface="+mn-lt"/>
              </a:defRPr>
            </a:lvl2pPr>
            <a:lvl3pPr marL="0" indent="0">
              <a:buNone/>
              <a:defRPr sz="1575" b="0">
                <a:latin typeface="+mn-lt"/>
              </a:defRPr>
            </a:lvl3pPr>
            <a:lvl4pPr marL="0" indent="0">
              <a:buNone/>
              <a:defRPr sz="1575" b="0">
                <a:latin typeface="+mn-lt"/>
              </a:defRPr>
            </a:lvl4pPr>
            <a:lvl5pPr marL="0" indent="0">
              <a:buFont typeface="Arial" pitchFamily="34" charset="0"/>
              <a:buNone/>
              <a:defRPr sz="1575" b="0"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575"/>
            </a:lvl6pPr>
            <a:lvl7pPr marL="0" indent="0">
              <a:spcBef>
                <a:spcPts val="0"/>
              </a:spcBef>
              <a:buNone/>
              <a:defRPr sz="1575"/>
            </a:lvl7pPr>
            <a:lvl8pPr marL="0" indent="0">
              <a:spcBef>
                <a:spcPts val="0"/>
              </a:spcBef>
              <a:buNone/>
              <a:defRPr sz="1575"/>
            </a:lvl8pPr>
            <a:lvl9pPr marL="0" indent="0">
              <a:spcBef>
                <a:spcPts val="0"/>
              </a:spcBef>
              <a:buNone/>
              <a:defRPr sz="15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int_sae_vrt_dbl_rgb_pos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 bwMode="hidden">
          <a:xfrm>
            <a:off x="420624" y="4261106"/>
            <a:ext cx="920498" cy="609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77434"/>
      </p:ext>
    </p:extLst>
  </p:cSld>
  <p:clrMapOvr>
    <a:masterClrMapping/>
  </p:clrMapOvr>
  <p:transition spd="slow">
    <p:wipe dir="r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 SAE Bo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int_sae_vrt_blk_rgb_pos.png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4440" y="4261105"/>
            <a:ext cx="920498" cy="45826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14324"/>
            <a:ext cx="7735824" cy="1257301"/>
          </a:xfrm>
        </p:spPr>
        <p:txBody>
          <a:bodyPr anchor="b"/>
          <a:lstStyle>
            <a:lvl1pPr>
              <a:defRPr sz="1575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0" y="0"/>
            <a:ext cx="9144000" cy="5143500"/>
            <a:chOff x="0" y="0"/>
            <a:chExt cx="9144000" cy="6858000"/>
          </a:xfrm>
        </p:grpSpPr>
        <p:sp>
          <p:nvSpPr>
            <p:cNvPr id="8" name="Rectangle 7"/>
            <p:cNvSpPr/>
            <p:nvPr userDrawn="1"/>
          </p:nvSpPr>
          <p:spPr bwMode="hidden">
            <a:xfrm>
              <a:off x="0" y="0"/>
              <a:ext cx="4572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9" name="Rectangle 8"/>
            <p:cNvSpPr/>
            <p:nvPr userDrawn="1"/>
          </p:nvSpPr>
          <p:spPr bwMode="hidden">
            <a:xfrm>
              <a:off x="8686800" y="0"/>
              <a:ext cx="457200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10" name="Rectangle 9"/>
            <p:cNvSpPr/>
            <p:nvPr userDrawn="1"/>
          </p:nvSpPr>
          <p:spPr bwMode="hidden">
            <a:xfrm>
              <a:off x="0" y="5054600"/>
              <a:ext cx="9144000" cy="1803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11" name="Rectangle 10"/>
            <p:cNvSpPr/>
            <p:nvPr userDrawn="1"/>
          </p:nvSpPr>
          <p:spPr bwMode="hidden">
            <a:xfrm rot="18060000">
              <a:off x="8389856" y="4710998"/>
              <a:ext cx="748541" cy="4727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685802" y="1628774"/>
            <a:ext cx="7731125" cy="1933575"/>
          </a:xfrm>
        </p:spPr>
        <p:txBody>
          <a:bodyPr/>
          <a:lstStyle>
            <a:lvl1pPr marL="0" indent="0">
              <a:buFont typeface="Arial" pitchFamily="34" charset="0"/>
              <a:buNone/>
              <a:defRPr sz="1575" b="0">
                <a:latin typeface="+mn-lt"/>
              </a:defRPr>
            </a:lvl1pPr>
            <a:lvl2pPr marL="0" indent="0">
              <a:buFont typeface="Arial" pitchFamily="34" charset="0"/>
              <a:buNone/>
              <a:defRPr sz="1575" b="0">
                <a:latin typeface="+mn-lt"/>
              </a:defRPr>
            </a:lvl2pPr>
            <a:lvl3pPr marL="0" indent="0">
              <a:buNone/>
              <a:defRPr sz="1575" b="0">
                <a:latin typeface="+mn-lt"/>
              </a:defRPr>
            </a:lvl3pPr>
            <a:lvl4pPr marL="0" indent="0">
              <a:buNone/>
              <a:defRPr sz="1575" b="0">
                <a:latin typeface="+mn-lt"/>
              </a:defRPr>
            </a:lvl4pPr>
            <a:lvl5pPr marL="0" indent="0">
              <a:buFont typeface="Arial" pitchFamily="34" charset="0"/>
              <a:buNone/>
              <a:defRPr sz="1575" b="0"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575"/>
            </a:lvl6pPr>
            <a:lvl7pPr marL="0" indent="0">
              <a:spcBef>
                <a:spcPts val="0"/>
              </a:spcBef>
              <a:buNone/>
              <a:defRPr sz="1575"/>
            </a:lvl7pPr>
            <a:lvl8pPr marL="0" indent="0">
              <a:spcBef>
                <a:spcPts val="0"/>
              </a:spcBef>
              <a:buNone/>
              <a:defRPr sz="1575"/>
            </a:lvl8pPr>
            <a:lvl9pPr marL="0" indent="0">
              <a:spcBef>
                <a:spcPts val="0"/>
              </a:spcBef>
              <a:buNone/>
              <a:defRPr sz="15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int_sae_vrt_dbl_rgb_pos.png"/>
          <p:cNvPicPr>
            <a:picLocks/>
          </p:cNvPicPr>
          <p:nvPr/>
        </p:nvPicPr>
        <p:blipFill>
          <a:blip r:embed="rId3" cstate="print"/>
          <a:stretch>
            <a:fillRect/>
          </a:stretch>
        </p:blipFill>
        <p:spPr bwMode="hidden">
          <a:xfrm>
            <a:off x="420624" y="4261105"/>
            <a:ext cx="920498" cy="458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9311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Slide SAE Bo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int_sae_vrt_blk_rgb_pos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4440" y="4261106"/>
            <a:ext cx="920498" cy="609601"/>
          </a:xfrm>
          <a:prstGeom prst="rect">
            <a:avLst/>
          </a:prstGeom>
        </p:spPr>
      </p:pic>
      <p:grpSp>
        <p:nvGrpSpPr>
          <p:cNvPr id="6" name="Group 9"/>
          <p:cNvGrpSpPr/>
          <p:nvPr/>
        </p:nvGrpSpPr>
        <p:grpSpPr bwMode="hidden">
          <a:xfrm>
            <a:off x="0" y="0"/>
            <a:ext cx="9144000" cy="5143500"/>
            <a:chOff x="0" y="0"/>
            <a:chExt cx="9144000" cy="5143500"/>
          </a:xfrm>
        </p:grpSpPr>
        <p:sp>
          <p:nvSpPr>
            <p:cNvPr id="8" name="Rectangle 7"/>
            <p:cNvSpPr/>
            <p:nvPr userDrawn="1"/>
          </p:nvSpPr>
          <p:spPr bwMode="hidden">
            <a:xfrm>
              <a:off x="0" y="0"/>
              <a:ext cx="457200" cy="5143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 bwMode="hidden">
            <a:xfrm>
              <a:off x="8686800" y="0"/>
              <a:ext cx="457200" cy="5143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 bwMode="hidden">
            <a:xfrm>
              <a:off x="0" y="3790950"/>
              <a:ext cx="9144000" cy="13525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 bwMode="hidden">
            <a:xfrm rot="-3540000">
              <a:off x="8483424" y="3474150"/>
              <a:ext cx="561406" cy="4727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685803" y="1628774"/>
            <a:ext cx="7731125" cy="1933575"/>
          </a:xfrm>
        </p:spPr>
        <p:txBody>
          <a:bodyPr/>
          <a:lstStyle>
            <a:lvl1pPr marL="0" indent="0">
              <a:buFont typeface="Arial" pitchFamily="34" charset="0"/>
              <a:buNone/>
              <a:defRPr sz="1575" b="0">
                <a:latin typeface="+mn-lt"/>
              </a:defRPr>
            </a:lvl1pPr>
            <a:lvl2pPr marL="0" indent="0">
              <a:buFont typeface="Arial" pitchFamily="34" charset="0"/>
              <a:buNone/>
              <a:defRPr sz="1575" b="0">
                <a:latin typeface="+mn-lt"/>
              </a:defRPr>
            </a:lvl2pPr>
            <a:lvl3pPr marL="0" indent="0">
              <a:buNone/>
              <a:defRPr sz="1575" b="0">
                <a:latin typeface="+mn-lt"/>
              </a:defRPr>
            </a:lvl3pPr>
            <a:lvl4pPr marL="0" indent="0">
              <a:buNone/>
              <a:defRPr sz="1575" b="0">
                <a:latin typeface="+mn-lt"/>
              </a:defRPr>
            </a:lvl4pPr>
            <a:lvl5pPr marL="0" indent="0">
              <a:buFont typeface="Arial" pitchFamily="34" charset="0"/>
              <a:buNone/>
              <a:defRPr sz="1575" b="0"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575"/>
            </a:lvl6pPr>
            <a:lvl7pPr marL="0" indent="0">
              <a:spcBef>
                <a:spcPts val="0"/>
              </a:spcBef>
              <a:buNone/>
              <a:defRPr sz="1575"/>
            </a:lvl7pPr>
            <a:lvl8pPr marL="0" indent="0">
              <a:spcBef>
                <a:spcPts val="0"/>
              </a:spcBef>
              <a:buNone/>
              <a:defRPr sz="1575"/>
            </a:lvl8pPr>
            <a:lvl9pPr marL="0" indent="0">
              <a:spcBef>
                <a:spcPts val="0"/>
              </a:spcBef>
              <a:buNone/>
              <a:defRPr sz="15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int_sae_vrt_dbl_rgb_pos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 bwMode="hidden">
          <a:xfrm>
            <a:off x="420624" y="4261106"/>
            <a:ext cx="920498" cy="609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165195"/>
      </p:ext>
    </p:extLst>
  </p:cSld>
  <p:clrMapOvr>
    <a:masterClrMapping/>
  </p:clrMapOvr>
  <p:transition spd="slow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AE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int_sae_sg_720_blk_rgb_wht.png"/>
          <p:cNvPicPr>
            <a:picLocks noChangeAspect="1"/>
          </p:cNvPicPr>
          <p:nvPr userDrawn="1"/>
        </p:nvPicPr>
        <p:blipFill>
          <a:blip r:embed="rId2"/>
          <a:srcRect l="1303"/>
          <a:stretch>
            <a:fillRect/>
          </a:stretch>
        </p:blipFill>
        <p:spPr>
          <a:xfrm rot="-5400000">
            <a:off x="5246044" y="1247178"/>
            <a:ext cx="5143500" cy="2649143"/>
          </a:xfrm>
          <a:prstGeom prst="rect">
            <a:avLst/>
          </a:prstGeom>
        </p:spPr>
      </p:pic>
      <p:grpSp>
        <p:nvGrpSpPr>
          <p:cNvPr id="10" name="Group 9"/>
          <p:cNvGrpSpPr/>
          <p:nvPr userDrawn="1"/>
        </p:nvGrpSpPr>
        <p:grpSpPr bwMode="hidden">
          <a:xfrm>
            <a:off x="0" y="-1"/>
            <a:ext cx="9144000" cy="5143501"/>
            <a:chOff x="0" y="-1"/>
            <a:chExt cx="9144000" cy="5143501"/>
          </a:xfrm>
        </p:grpSpPr>
        <p:sp>
          <p:nvSpPr>
            <p:cNvPr id="9" name="Rectangle 8"/>
            <p:cNvSpPr/>
            <p:nvPr userDrawn="1"/>
          </p:nvSpPr>
          <p:spPr bwMode="hidden">
            <a:xfrm>
              <a:off x="0" y="0"/>
              <a:ext cx="9144000" cy="51435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 descr="int_sae_sg_720_dbl_rgb_wht.png"/>
            <p:cNvPicPr>
              <a:picLocks noChangeAspect="1"/>
            </p:cNvPicPr>
            <p:nvPr userDrawn="1"/>
          </p:nvPicPr>
          <p:blipFill>
            <a:blip r:embed="rId3" cstate="print"/>
            <a:srcRect l="1818"/>
            <a:stretch>
              <a:fillRect/>
            </a:stretch>
          </p:blipFill>
          <p:spPr bwMode="hidden">
            <a:xfrm rot="16200000">
              <a:off x="5238750" y="1238448"/>
              <a:ext cx="5143501" cy="266660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95350"/>
            <a:ext cx="5559552" cy="940274"/>
          </a:xfrm>
        </p:spPr>
        <p:txBody>
          <a:bodyPr anchor="b"/>
          <a:lstStyle>
            <a:lvl1pPr>
              <a:defRPr sz="21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57200" y="438912"/>
            <a:ext cx="55595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  <a:latin typeface="+mj-lt"/>
              </a:rPr>
              <a:t>SAE INTERNATIONA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1883391"/>
            <a:ext cx="5562600" cy="2691783"/>
          </a:xfrm>
        </p:spPr>
        <p:txBody>
          <a:bodyPr>
            <a:noAutofit/>
          </a:bodyPr>
          <a:lstStyle>
            <a:lvl1pPr marL="0" indent="0" algn="l">
              <a:buNone/>
              <a:defRPr sz="2100" b="0" cap="none" baseline="0">
                <a:solidFill>
                  <a:schemeClr val="bg1"/>
                </a:solidFill>
              </a:defRPr>
            </a:lvl1pPr>
            <a:lvl2pPr marL="0" indent="0" algn="l">
              <a:buNone/>
              <a:defRPr sz="2100">
                <a:solidFill>
                  <a:schemeClr val="bg1"/>
                </a:solidFill>
              </a:defRPr>
            </a:lvl2pPr>
            <a:lvl3pPr marL="0" indent="0" algn="l">
              <a:buNone/>
              <a:defRPr sz="2100">
                <a:solidFill>
                  <a:schemeClr val="bg1"/>
                </a:solidFill>
              </a:defRPr>
            </a:lvl3pPr>
            <a:lvl4pPr marL="0" indent="0" algn="l">
              <a:buNone/>
              <a:defRPr sz="2100">
                <a:solidFill>
                  <a:schemeClr val="bg1"/>
                </a:solidFill>
              </a:defRPr>
            </a:lvl4pPr>
            <a:lvl5pPr marL="0" indent="0" algn="l">
              <a:buNone/>
              <a:tabLst/>
              <a:defRPr sz="2100">
                <a:solidFill>
                  <a:schemeClr val="bg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100">
                <a:solidFill>
                  <a:schemeClr val="bg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100">
                <a:solidFill>
                  <a:schemeClr val="bg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100">
                <a:solidFill>
                  <a:schemeClr val="bg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z="2100" dirty="0"/>
              <a:t>Click to edit subhead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286000" y="4917073"/>
            <a:ext cx="4572000" cy="1692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/>
            <a:r>
              <a:rPr lang="en-US" sz="500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opyright </a:t>
            </a:r>
            <a:r>
              <a:rPr lang="en-US" sz="5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</a:t>
            </a:r>
            <a:r>
              <a:rPr lang="en-US" sz="500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SAE International.  Further use or distribution is not permitted without permission from SAE</a:t>
            </a:r>
            <a:endParaRPr lang="en-US" sz="5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95350"/>
            <a:ext cx="5559552" cy="940274"/>
          </a:xfrm>
        </p:spPr>
        <p:txBody>
          <a:bodyPr anchor="b"/>
          <a:lstStyle>
            <a:lvl1pPr>
              <a:defRPr sz="2100" cap="all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457200" y="438912"/>
            <a:ext cx="5559552" cy="3017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latin typeface="+mj-lt"/>
              </a:rPr>
              <a:t>SAE INTERNATIONA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1883391"/>
            <a:ext cx="5562600" cy="2691783"/>
          </a:xfrm>
        </p:spPr>
        <p:txBody>
          <a:bodyPr>
            <a:noAutofit/>
          </a:bodyPr>
          <a:lstStyle>
            <a:lvl1pPr marL="0" indent="0" algn="l">
              <a:buNone/>
              <a:defRPr sz="2100" b="0" cap="none" baseline="0">
                <a:solidFill>
                  <a:schemeClr val="tx1"/>
                </a:solidFill>
              </a:defRPr>
            </a:lvl1pPr>
            <a:lvl2pPr marL="0" indent="0" algn="l">
              <a:buNone/>
              <a:defRPr sz="2100">
                <a:solidFill>
                  <a:schemeClr val="tx1"/>
                </a:solidFill>
              </a:defRPr>
            </a:lvl2pPr>
            <a:lvl3pPr marL="0" indent="0" algn="l">
              <a:buNone/>
              <a:defRPr sz="2100">
                <a:solidFill>
                  <a:schemeClr val="tx1"/>
                </a:solidFill>
              </a:defRPr>
            </a:lvl3pPr>
            <a:lvl4pPr marL="0" indent="0" algn="l">
              <a:buNone/>
              <a:defRPr sz="2100">
                <a:solidFill>
                  <a:schemeClr val="tx1"/>
                </a:solidFill>
              </a:defRPr>
            </a:lvl4pPr>
            <a:lvl5pPr marL="0" indent="0" algn="l">
              <a:buNone/>
              <a:tabLst/>
              <a:defRPr sz="2100">
                <a:solidFill>
                  <a:schemeClr val="tx1"/>
                </a:solidFill>
              </a:defRPr>
            </a:lvl5pPr>
            <a:lvl6pPr marL="0" indent="0" algn="l">
              <a:spcBef>
                <a:spcPts val="0"/>
              </a:spcBef>
              <a:buNone/>
              <a:defRPr sz="2100">
                <a:solidFill>
                  <a:schemeClr val="tx1"/>
                </a:solidFill>
              </a:defRPr>
            </a:lvl6pPr>
            <a:lvl7pPr marL="0" indent="0" algn="l">
              <a:spcBef>
                <a:spcPts val="0"/>
              </a:spcBef>
              <a:buNone/>
              <a:defRPr sz="2100">
                <a:solidFill>
                  <a:schemeClr val="tx1"/>
                </a:solidFill>
              </a:defRPr>
            </a:lvl7pPr>
            <a:lvl8pPr marL="0" indent="0" algn="l">
              <a:spcBef>
                <a:spcPts val="0"/>
              </a:spcBef>
              <a:buNone/>
              <a:defRPr sz="2100">
                <a:solidFill>
                  <a:schemeClr val="tx1"/>
                </a:solidFill>
              </a:defRPr>
            </a:lvl8pPr>
            <a:lvl9pPr marL="0" indent="0" algn="l">
              <a:spcBef>
                <a:spcPts val="0"/>
              </a:spcBef>
              <a:buNone/>
              <a:defRPr sz="21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sz="2100" dirty="0"/>
              <a:t>Click to edit subhead</a:t>
            </a:r>
          </a:p>
        </p:txBody>
      </p:sp>
      <p:pic>
        <p:nvPicPr>
          <p:cNvPr id="8" name="Picture 7" descr="int_sae_sg_720_dbl_rgb_wht.png"/>
          <p:cNvPicPr>
            <a:picLocks noChangeAspect="1"/>
          </p:cNvPicPr>
          <p:nvPr userDrawn="1"/>
        </p:nvPicPr>
        <p:blipFill>
          <a:blip r:embed="rId2" cstate="print"/>
          <a:srcRect l="1818"/>
          <a:stretch>
            <a:fillRect/>
          </a:stretch>
        </p:blipFill>
        <p:spPr>
          <a:xfrm rot="16200000">
            <a:off x="5238748" y="1241108"/>
            <a:ext cx="5143502" cy="2661285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2286000" y="4917073"/>
            <a:ext cx="4572000" cy="1692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/>
            <a:r>
              <a:rPr lang="en-US" sz="5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Copyright © SAE International.  Further use or distribution is not permitted without permission from SAE</a:t>
            </a:r>
            <a:endParaRPr lang="en-US" sz="5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SAE Bo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int_sae_vrt_blk_rgb_pos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24440" y="4261104"/>
            <a:ext cx="920498" cy="6096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14324"/>
            <a:ext cx="7735824" cy="1257301"/>
          </a:xfrm>
        </p:spPr>
        <p:txBody>
          <a:bodyPr anchor="b"/>
          <a:lstStyle>
            <a:lvl1pPr>
              <a:defRPr sz="2100" cap="all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6" name="Group 9"/>
          <p:cNvGrpSpPr/>
          <p:nvPr userDrawn="1"/>
        </p:nvGrpSpPr>
        <p:grpSpPr bwMode="hidden">
          <a:xfrm>
            <a:off x="0" y="0"/>
            <a:ext cx="9144000" cy="5143500"/>
            <a:chOff x="0" y="0"/>
            <a:chExt cx="9144000" cy="5143500"/>
          </a:xfrm>
        </p:grpSpPr>
        <p:sp>
          <p:nvSpPr>
            <p:cNvPr id="8" name="Rectangle 7"/>
            <p:cNvSpPr/>
            <p:nvPr userDrawn="1"/>
          </p:nvSpPr>
          <p:spPr bwMode="hidden">
            <a:xfrm>
              <a:off x="0" y="0"/>
              <a:ext cx="457200" cy="5143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 bwMode="hidden">
            <a:xfrm>
              <a:off x="8686800" y="0"/>
              <a:ext cx="457200" cy="5143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 bwMode="hidden">
            <a:xfrm>
              <a:off x="0" y="3790950"/>
              <a:ext cx="9144000" cy="13525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 bwMode="hidden">
            <a:xfrm rot="-3540000">
              <a:off x="8483424" y="3474150"/>
              <a:ext cx="561406" cy="4727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Text Placeholder 13"/>
          <p:cNvSpPr>
            <a:spLocks noGrp="1"/>
          </p:cNvSpPr>
          <p:nvPr userDrawn="1">
            <p:ph type="body" sz="quarter" idx="10"/>
          </p:nvPr>
        </p:nvSpPr>
        <p:spPr>
          <a:xfrm>
            <a:off x="685800" y="1628774"/>
            <a:ext cx="7731125" cy="1933575"/>
          </a:xfrm>
        </p:spPr>
        <p:txBody>
          <a:bodyPr/>
          <a:lstStyle>
            <a:lvl1pPr marL="0" indent="0">
              <a:buFont typeface="Arial" pitchFamily="34" charset="0"/>
              <a:buNone/>
              <a:defRPr sz="2100" b="0">
                <a:latin typeface="+mn-lt"/>
              </a:defRPr>
            </a:lvl1pPr>
            <a:lvl2pPr marL="0" indent="0">
              <a:buFont typeface="Arial" pitchFamily="34" charset="0"/>
              <a:buNone/>
              <a:defRPr sz="2100" b="0">
                <a:latin typeface="+mn-lt"/>
              </a:defRPr>
            </a:lvl2pPr>
            <a:lvl3pPr marL="0" indent="0">
              <a:buNone/>
              <a:defRPr sz="2100" b="0">
                <a:latin typeface="+mn-lt"/>
              </a:defRPr>
            </a:lvl3pPr>
            <a:lvl4pPr marL="0" indent="0">
              <a:buNone/>
              <a:defRPr sz="2100" b="0">
                <a:latin typeface="+mn-lt"/>
              </a:defRPr>
            </a:lvl4pPr>
            <a:lvl5pPr marL="0" indent="0">
              <a:buFont typeface="Arial" pitchFamily="34" charset="0"/>
              <a:buNone/>
              <a:defRPr sz="2100" b="0"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2100"/>
            </a:lvl6pPr>
            <a:lvl7pPr marL="0" indent="0">
              <a:spcBef>
                <a:spcPts val="0"/>
              </a:spcBef>
              <a:buNone/>
              <a:defRPr sz="2100"/>
            </a:lvl7pPr>
            <a:lvl8pPr marL="0" indent="0">
              <a:spcBef>
                <a:spcPts val="0"/>
              </a:spcBef>
              <a:buNone/>
              <a:defRPr sz="2100"/>
            </a:lvl8pPr>
            <a:lvl9pPr marL="0" indent="0">
              <a:spcBef>
                <a:spcPts val="0"/>
              </a:spcBef>
              <a:buNone/>
              <a:defRPr sz="21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3" name="Picture 12" descr="int_sae_vrt_dbl_rgb_pos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 bwMode="hidden">
          <a:xfrm>
            <a:off x="420624" y="4261104"/>
            <a:ext cx="920498" cy="609601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2286000" y="4917073"/>
            <a:ext cx="4572000" cy="1692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/>
            <a:r>
              <a:rPr lang="en-US" sz="5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Copyright © SAE International.  Further use or distribution is not permitted without permission from SAE</a:t>
            </a:r>
            <a:endParaRPr lang="en-US" sz="5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Color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658368"/>
            <a:ext cx="7620000" cy="548640"/>
          </a:xfrm>
        </p:spPr>
        <p:txBody>
          <a:bodyPr>
            <a:no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HEAD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428750"/>
            <a:ext cx="7620000" cy="283464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b="0">
                <a:solidFill>
                  <a:schemeClr val="bg1"/>
                </a:solidFill>
              </a:defRPr>
            </a:lvl1pPr>
            <a:lvl2pPr marL="173038" indent="-173038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460375" indent="-230188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798513" indent="-171450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1200" b="0">
                <a:solidFill>
                  <a:schemeClr val="bg1"/>
                </a:solidFill>
              </a:defRPr>
            </a:lvl4pPr>
            <a:lvl5pPr marL="798513" indent="-171450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1200" b="0">
                <a:solidFill>
                  <a:schemeClr val="bg1"/>
                </a:solidFill>
              </a:defRPr>
            </a:lvl5pPr>
            <a:lvl6pPr marL="798513" indent="-171450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1200" b="0">
                <a:solidFill>
                  <a:schemeClr val="bg1"/>
                </a:solidFill>
              </a:defRPr>
            </a:lvl6pPr>
            <a:lvl7pPr marL="798513" indent="-171450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1200" b="0">
                <a:solidFill>
                  <a:schemeClr val="bg1"/>
                </a:solidFill>
              </a:defRPr>
            </a:lvl7pPr>
            <a:lvl8pPr marL="798513" indent="-171450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1200" b="0">
                <a:solidFill>
                  <a:schemeClr val="bg1"/>
                </a:solidFill>
              </a:defRPr>
            </a:lvl8pPr>
            <a:lvl9pPr marL="798513" indent="-171450">
              <a:lnSpc>
                <a:spcPct val="100000"/>
              </a:lnSpc>
              <a:spcBef>
                <a:spcPts val="0"/>
              </a:spcBef>
              <a:buFont typeface="Arial" pitchFamily="34" charset="0"/>
              <a:buChar char="•"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9" name="Freeform 8"/>
          <p:cNvSpPr/>
          <p:nvPr userDrawn="1"/>
        </p:nvSpPr>
        <p:spPr>
          <a:xfrm>
            <a:off x="460690" y="432769"/>
            <a:ext cx="8229600" cy="4139231"/>
          </a:xfrm>
          <a:custGeom>
            <a:avLst/>
            <a:gdLst>
              <a:gd name="connsiteX0" fmla="*/ 7950394 w 8229600"/>
              <a:gd name="connsiteY0" fmla="*/ 4139231 h 4139231"/>
              <a:gd name="connsiteX1" fmla="*/ 8229600 w 8229600"/>
              <a:gd name="connsiteY1" fmla="*/ 3692501 h 4139231"/>
              <a:gd name="connsiteX2" fmla="*/ 8222620 w 8229600"/>
              <a:gd name="connsiteY2" fmla="*/ 0 h 4139231"/>
              <a:gd name="connsiteX3" fmla="*/ 0 w 8229600"/>
              <a:gd name="connsiteY3" fmla="*/ 0 h 4139231"/>
              <a:gd name="connsiteX4" fmla="*/ 0 w 8229600"/>
              <a:gd name="connsiteY4" fmla="*/ 4139231 h 4139231"/>
              <a:gd name="connsiteX5" fmla="*/ 7950394 w 8229600"/>
              <a:gd name="connsiteY5" fmla="*/ 4139231 h 4139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9600" h="4139231">
                <a:moveTo>
                  <a:pt x="7950394" y="4139231"/>
                </a:moveTo>
                <a:lnTo>
                  <a:pt x="8229600" y="3692501"/>
                </a:lnTo>
                <a:cubicBezTo>
                  <a:pt x="8227273" y="2461667"/>
                  <a:pt x="8224947" y="1230834"/>
                  <a:pt x="8222620" y="0"/>
                </a:cubicBezTo>
                <a:lnTo>
                  <a:pt x="0" y="0"/>
                </a:lnTo>
                <a:lnTo>
                  <a:pt x="0" y="4139231"/>
                </a:lnTo>
                <a:lnTo>
                  <a:pt x="7950394" y="4139231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05934"/>
            <a:ext cx="2895600" cy="1280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CHANGED UNDER INSERT&gt;HEADER &amp; FOOTER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805934"/>
            <a:ext cx="2133600" cy="1280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5A2E38E-3676-4AC9-AE40-117CF2D4B3A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457200" y="4760214"/>
            <a:ext cx="8229600" cy="119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 userDrawn="1"/>
        </p:nvSpPr>
        <p:spPr>
          <a:xfrm>
            <a:off x="457200" y="4805934"/>
            <a:ext cx="213055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cap="all" baseline="0" dirty="0">
                <a:solidFill>
                  <a:schemeClr val="bg1"/>
                </a:solidFill>
                <a:latin typeface="+mj-lt"/>
              </a:rPr>
              <a:t>SAE INTERNATIONAL</a:t>
            </a:r>
            <a:r>
              <a:rPr lang="en-US" sz="800" b="1" cap="all" baseline="30000" dirty="0">
                <a:solidFill>
                  <a:schemeClr val="bg1"/>
                </a:solidFill>
                <a:latin typeface="+mj-lt"/>
              </a:rPr>
              <a:t>®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2286000" y="4917073"/>
            <a:ext cx="4572000" cy="1692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/>
            <a:r>
              <a:rPr lang="en-US" sz="500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opyright </a:t>
            </a:r>
            <a:r>
              <a:rPr lang="en-US" sz="5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</a:t>
            </a:r>
            <a:r>
              <a:rPr lang="en-US" sz="500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SAE International.  Further use or distribution is not permitted without permission from SAE</a:t>
            </a:r>
            <a:endParaRPr lang="en-US" sz="5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Color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657224"/>
            <a:ext cx="7620000" cy="3429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700" b="1" cap="all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7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7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7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7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7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7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7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7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HEADLINE</a:t>
            </a:r>
          </a:p>
          <a:p>
            <a:pPr lvl="1"/>
            <a:r>
              <a:rPr lang="en-US" dirty="0"/>
              <a:t>Click to edit subhead</a:t>
            </a:r>
          </a:p>
        </p:txBody>
      </p:sp>
      <p:sp>
        <p:nvSpPr>
          <p:cNvPr id="9" name="Freeform 8"/>
          <p:cNvSpPr/>
          <p:nvPr userDrawn="1"/>
        </p:nvSpPr>
        <p:spPr>
          <a:xfrm>
            <a:off x="460690" y="432769"/>
            <a:ext cx="8229600" cy="4139231"/>
          </a:xfrm>
          <a:custGeom>
            <a:avLst/>
            <a:gdLst>
              <a:gd name="connsiteX0" fmla="*/ 7950394 w 8229600"/>
              <a:gd name="connsiteY0" fmla="*/ 4139231 h 4139231"/>
              <a:gd name="connsiteX1" fmla="*/ 8229600 w 8229600"/>
              <a:gd name="connsiteY1" fmla="*/ 3692501 h 4139231"/>
              <a:gd name="connsiteX2" fmla="*/ 8222620 w 8229600"/>
              <a:gd name="connsiteY2" fmla="*/ 0 h 4139231"/>
              <a:gd name="connsiteX3" fmla="*/ 0 w 8229600"/>
              <a:gd name="connsiteY3" fmla="*/ 0 h 4139231"/>
              <a:gd name="connsiteX4" fmla="*/ 0 w 8229600"/>
              <a:gd name="connsiteY4" fmla="*/ 4139231 h 4139231"/>
              <a:gd name="connsiteX5" fmla="*/ 7950394 w 8229600"/>
              <a:gd name="connsiteY5" fmla="*/ 4139231 h 4139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229600" h="4139231">
                <a:moveTo>
                  <a:pt x="7950394" y="4139231"/>
                </a:moveTo>
                <a:lnTo>
                  <a:pt x="8229600" y="3692501"/>
                </a:lnTo>
                <a:cubicBezTo>
                  <a:pt x="8227273" y="2461667"/>
                  <a:pt x="8224947" y="1230834"/>
                  <a:pt x="8222620" y="0"/>
                </a:cubicBezTo>
                <a:lnTo>
                  <a:pt x="0" y="0"/>
                </a:lnTo>
                <a:lnTo>
                  <a:pt x="0" y="4139231"/>
                </a:lnTo>
                <a:lnTo>
                  <a:pt x="7950394" y="4139231"/>
                </a:ln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05934"/>
            <a:ext cx="2895600" cy="1280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 CHANGED UNDER INSERT&gt;HEADER &amp; FOOTER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805934"/>
            <a:ext cx="2133600" cy="12801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5A2E38E-3676-4AC9-AE40-117CF2D4B3A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760214"/>
            <a:ext cx="8229600" cy="119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457200" y="4805934"/>
            <a:ext cx="213055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kern="12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AE INTERNATIONAL</a:t>
            </a:r>
            <a:r>
              <a:rPr lang="en-US" sz="800" b="1" kern="1200" cap="all" baseline="300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®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286000" y="4917073"/>
            <a:ext cx="4572000" cy="1692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/>
            <a:r>
              <a:rPr lang="en-US" sz="500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Copyright </a:t>
            </a:r>
            <a:r>
              <a:rPr lang="en-US" sz="5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</a:t>
            </a:r>
            <a:r>
              <a:rPr lang="en-US" sz="500" kern="1200" dirty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SAE International.  Further use or distribution is not permitted without permission from SAE</a:t>
            </a:r>
            <a:endParaRPr lang="en-US" sz="5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 bwMode="hidden">
          <a:xfrm>
            <a:off x="0" y="295748"/>
            <a:ext cx="9144000" cy="4847753"/>
          </a:xfrm>
          <a:custGeom>
            <a:avLst/>
            <a:gdLst>
              <a:gd name="connsiteX0" fmla="*/ 0 w 9144000"/>
              <a:gd name="connsiteY0" fmla="*/ 0 h 758952"/>
              <a:gd name="connsiteX1" fmla="*/ 9144000 w 9144000"/>
              <a:gd name="connsiteY1" fmla="*/ 0 h 758952"/>
              <a:gd name="connsiteX2" fmla="*/ 9144000 w 9144000"/>
              <a:gd name="connsiteY2" fmla="*/ 758952 h 758952"/>
              <a:gd name="connsiteX3" fmla="*/ 0 w 9144000"/>
              <a:gd name="connsiteY3" fmla="*/ 758952 h 758952"/>
              <a:gd name="connsiteX4" fmla="*/ 0 w 9144000"/>
              <a:gd name="connsiteY4" fmla="*/ 0 h 758952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758952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9144000 w 9144000"/>
              <a:gd name="connsiteY3" fmla="*/ 758952 h 760491"/>
              <a:gd name="connsiteX4" fmla="*/ 8872396 w 9144000"/>
              <a:gd name="connsiteY4" fmla="*/ 760491 h 760491"/>
              <a:gd name="connsiteX5" fmla="*/ 0 w 9144000"/>
              <a:gd name="connsiteY5" fmla="*/ 758952 h 760491"/>
              <a:gd name="connsiteX6" fmla="*/ 0 w 9144000"/>
              <a:gd name="connsiteY6" fmla="*/ 0 h 760491"/>
              <a:gd name="connsiteX0" fmla="*/ 0 w 9144000"/>
              <a:gd name="connsiteY0" fmla="*/ 0 h 760491"/>
              <a:gd name="connsiteX1" fmla="*/ 9144000 w 9144000"/>
              <a:gd name="connsiteY1" fmla="*/ 0 h 760491"/>
              <a:gd name="connsiteX2" fmla="*/ 9144000 w 9144000"/>
              <a:gd name="connsiteY2" fmla="*/ 295747 h 760491"/>
              <a:gd name="connsiteX3" fmla="*/ 8872396 w 9144000"/>
              <a:gd name="connsiteY3" fmla="*/ 760491 h 760491"/>
              <a:gd name="connsiteX4" fmla="*/ 0 w 9144000"/>
              <a:gd name="connsiteY4" fmla="*/ 758952 h 760491"/>
              <a:gd name="connsiteX5" fmla="*/ 0 w 9144000"/>
              <a:gd name="connsiteY5" fmla="*/ 0 h 760491"/>
              <a:gd name="connsiteX0" fmla="*/ 0 w 9144000"/>
              <a:gd name="connsiteY0" fmla="*/ 0 h 5143500"/>
              <a:gd name="connsiteX1" fmla="*/ 9144000 w 9144000"/>
              <a:gd name="connsiteY1" fmla="*/ 5143500 h 5143500"/>
              <a:gd name="connsiteX2" fmla="*/ 9144000 w 9144000"/>
              <a:gd name="connsiteY2" fmla="*/ 295747 h 5143500"/>
              <a:gd name="connsiteX3" fmla="*/ 8872396 w 9144000"/>
              <a:gd name="connsiteY3" fmla="*/ 760491 h 5143500"/>
              <a:gd name="connsiteX4" fmla="*/ 0 w 9144000"/>
              <a:gd name="connsiteY4" fmla="*/ 758952 h 5143500"/>
              <a:gd name="connsiteX5" fmla="*/ 0 w 9144000"/>
              <a:gd name="connsiteY5" fmla="*/ 0 h 5143500"/>
              <a:gd name="connsiteX0" fmla="*/ 0 w 9144000"/>
              <a:gd name="connsiteY0" fmla="*/ 4847753 h 4847753"/>
              <a:gd name="connsiteX1" fmla="*/ 9144000 w 9144000"/>
              <a:gd name="connsiteY1" fmla="*/ 4847753 h 4847753"/>
              <a:gd name="connsiteX2" fmla="*/ 9144000 w 9144000"/>
              <a:gd name="connsiteY2" fmla="*/ 0 h 4847753"/>
              <a:gd name="connsiteX3" fmla="*/ 8872396 w 9144000"/>
              <a:gd name="connsiteY3" fmla="*/ 464744 h 4847753"/>
              <a:gd name="connsiteX4" fmla="*/ 0 w 9144000"/>
              <a:gd name="connsiteY4" fmla="*/ 463205 h 4847753"/>
              <a:gd name="connsiteX5" fmla="*/ 0 w 9144000"/>
              <a:gd name="connsiteY5" fmla="*/ 4847753 h 4847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000" h="4847753">
                <a:moveTo>
                  <a:pt x="0" y="4847753"/>
                </a:moveTo>
                <a:lnTo>
                  <a:pt x="9144000" y="4847753"/>
                </a:lnTo>
                <a:lnTo>
                  <a:pt x="9144000" y="0"/>
                </a:lnTo>
                <a:lnTo>
                  <a:pt x="8872396" y="464744"/>
                </a:lnTo>
                <a:lnTo>
                  <a:pt x="0" y="463205"/>
                </a:lnTo>
                <a:lnTo>
                  <a:pt x="0" y="48477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911224"/>
            <a:ext cx="8229600" cy="36576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805934"/>
            <a:ext cx="2895600" cy="128016"/>
          </a:xfrm>
        </p:spPr>
        <p:txBody>
          <a:bodyPr/>
          <a:lstStyle/>
          <a:p>
            <a:r>
              <a:rPr lang="en-US" dirty="0"/>
              <a:t>FOOTER CHANGED UNDER INSERT&gt;HEADER &amp;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805934"/>
            <a:ext cx="2133600" cy="128016"/>
          </a:xfrm>
        </p:spPr>
        <p:txBody>
          <a:bodyPr/>
          <a:lstStyle/>
          <a:p>
            <a:fld id="{C5A2E38E-3676-4AC9-AE40-117CF2D4B3A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0" y="4760214"/>
            <a:ext cx="8229600" cy="119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57200" y="4805934"/>
            <a:ext cx="213055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00" b="1" cap="all" baseline="0" dirty="0">
                <a:latin typeface="+mj-lt"/>
              </a:rPr>
              <a:t>SAE INTERNATIONAL</a:t>
            </a:r>
            <a:r>
              <a:rPr lang="en-US" sz="800" b="1" kern="1200" cap="all" baseline="300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®</a:t>
            </a:r>
            <a:endParaRPr lang="en-US" sz="800" b="1" cap="all" baseline="30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286000" y="4917073"/>
            <a:ext cx="4572000" cy="169277"/>
          </a:xfrm>
          <a:prstGeom prst="rect">
            <a:avLst/>
          </a:prstGeom>
          <a:noFill/>
        </p:spPr>
        <p:txBody>
          <a:bodyPr wrap="square" rtlCol="0" anchor="b" anchorCtr="0">
            <a:spAutoFit/>
          </a:bodyPr>
          <a:lstStyle/>
          <a:p>
            <a:pPr algn="ctr"/>
            <a:r>
              <a:rPr lang="en-US" sz="5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Copyright © SAE International.  Further use or distribution is not permitted without permission from SAE</a:t>
            </a:r>
            <a:endParaRPr lang="en-US" sz="5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11224"/>
            <a:ext cx="8229600" cy="3657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46120" y="4873752"/>
            <a:ext cx="2895600" cy="1280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FOOTER CHANGED UNDER INSERT&gt;HEADER &amp;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873752"/>
            <a:ext cx="2133600" cy="1280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0">
                <a:solidFill>
                  <a:schemeClr val="tx1"/>
                </a:solidFill>
                <a:latin typeface="+mj-lt"/>
              </a:defRPr>
            </a:lvl1pPr>
          </a:lstStyle>
          <a:p>
            <a:fld id="{C5A2E38E-3676-4AC9-AE40-117CF2D4B3A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664" r:id="rId7"/>
    <p:sldLayoutId id="2147483665" r:id="rId8"/>
    <p:sldLayoutId id="2147483650" r:id="rId9"/>
    <p:sldLayoutId id="2147483692" r:id="rId10"/>
    <p:sldLayoutId id="2147483662" r:id="rId11"/>
    <p:sldLayoutId id="2147483691" r:id="rId12"/>
    <p:sldLayoutId id="2147483674" r:id="rId13"/>
    <p:sldLayoutId id="2147483675" r:id="rId14"/>
    <p:sldLayoutId id="2147483690" r:id="rId15"/>
    <p:sldLayoutId id="2147483693" r:id="rId16"/>
    <p:sldLayoutId id="2147483700" r:id="rId17"/>
    <p:sldLayoutId id="2147483701" r:id="rId18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itchFamily="34" charset="0"/>
        <a:buNone/>
        <a:defRPr sz="18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74625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65138" indent="-23336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82625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76313" indent="-23177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976313" indent="-23177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974725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976313" indent="-23177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8229600" cy="5029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11224"/>
            <a:ext cx="8229600" cy="3657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46120" y="4873752"/>
            <a:ext cx="2895600" cy="1280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873752"/>
            <a:ext cx="2133600" cy="1280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 b="0">
                <a:solidFill>
                  <a:schemeClr val="tx1"/>
                </a:solidFill>
                <a:latin typeface="+mj-lt"/>
              </a:defRPr>
            </a:lvl1pPr>
          </a:lstStyle>
          <a:p>
            <a:fld id="{4C5D8FA6-68AB-4A14-A7AD-22E476017B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600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</p:sldLayoutIdLst>
  <p:txStyles>
    <p:titleStyle>
      <a:lvl1pPr algn="l" defTabSz="685800" rtl="0" eaLnBrk="1" latinLnBrk="0" hangingPunct="1">
        <a:spcBef>
          <a:spcPct val="0"/>
        </a:spcBef>
        <a:buNone/>
        <a:defRPr sz="1350" b="1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itchFamily="34" charset="0"/>
        <a:buNone/>
        <a:defRPr sz="105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itchFamily="34" charset="0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130969" indent="-130969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348854" indent="-175022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511969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32235" indent="-173831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732235" indent="-173831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731044" indent="-172641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732235" indent="-173831" algn="l" defTabSz="6858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360.articulate.com/review/content/cca0bdd9-45ae-4635-94f1-1ba86891960b/review" TargetMode="External"/><Relationship Id="rId5" Type="http://schemas.openxmlformats.org/officeDocument/2006/relationships/hyperlink" Target="https://360.articulate.com/review/content/7538c320-9a67-4966-a9f3-f9b0bb7cdd9a/review" TargetMode="External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Using%20a%20Scytale.mp4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9.xml"/><Relationship Id="rId1" Type="http://schemas.openxmlformats.org/officeDocument/2006/relationships/video" Target="https://www.youtube.com/embed/pwrsUQKdmH8?feature=oembed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tags" Target="../tags/tag4.xml"/><Relationship Id="rId7" Type="http://schemas.openxmlformats.org/officeDocument/2006/relationships/image" Target="../media/image9.emf"/><Relationship Id="rId12" Type="http://schemas.microsoft.com/office/2007/relationships/diagramDrawing" Target="../diagrams/drawing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diagramColors" Target="../diagrams/colors2.xml"/><Relationship Id="rId5" Type="http://schemas.openxmlformats.org/officeDocument/2006/relationships/notesSlide" Target="../notesSlides/notesSlide1.xml"/><Relationship Id="rId10" Type="http://schemas.openxmlformats.org/officeDocument/2006/relationships/diagramQuickStyle" Target="../diagrams/quickStyle2.xml"/><Relationship Id="rId4" Type="http://schemas.openxmlformats.org/officeDocument/2006/relationships/slideLayout" Target="../slideLayouts/slideLayout9.xml"/><Relationship Id="rId9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document/d/1gySkItxiJn_vwb8HIIKNXqen184mRtzDX12cux0ZgZk/pub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World In motion</a:t>
            </a:r>
            <a:r>
              <a:rPr lang="en-US" baseline="30000" dirty="0"/>
              <a:t>®</a:t>
            </a:r>
            <a:r>
              <a:rPr lang="en-US" dirty="0"/>
              <a:t>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457200" y="2190750"/>
            <a:ext cx="5715000" cy="2691783"/>
          </a:xfrm>
        </p:spPr>
        <p:txBody>
          <a:bodyPr/>
          <a:lstStyle/>
          <a:p>
            <a:r>
              <a:rPr lang="en-US" b="1" dirty="0"/>
              <a:t>Hands-on Cybersecurity Education in a K-16 STEM Experience Continuum</a:t>
            </a:r>
            <a:endParaRPr 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F2A1D6-36BB-4328-9A65-676CCAF361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ING THE CHALLENG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A30060-716D-4AFB-8AE0-8317DABD1F4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5A2E38E-3676-4AC9-AE40-117CF2D4B3AC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907445C-CA0D-4897-AB72-091D4F8588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7061" y="919461"/>
            <a:ext cx="2432965" cy="315108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9919A25-D6F3-428C-8325-FB874FF2E3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20656" y="1168903"/>
            <a:ext cx="2430408" cy="315402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9E97A3B-BFEF-45E3-BCFF-67E0AC1F54E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67638" y="1375178"/>
            <a:ext cx="2447021" cy="315402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A74FFA0-AE3B-4CD8-A88C-1B16187843B4}"/>
              </a:ext>
            </a:extLst>
          </p:cNvPr>
          <p:cNvSpPr/>
          <p:nvPr/>
        </p:nvSpPr>
        <p:spPr>
          <a:xfrm>
            <a:off x="609600" y="2444360"/>
            <a:ext cx="7924800" cy="83099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5492"/>
                </a:solidFill>
                <a:latin typeface="Futura Std"/>
              </a:rPr>
              <a:t>Learn how to break down a task into logical step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5492"/>
                </a:solidFill>
                <a:latin typeface="Futura Std"/>
              </a:rPr>
              <a:t>Think about how a program would change if you had to do a task a different way</a:t>
            </a:r>
            <a:endParaRPr lang="en-US" sz="1200" b="1" dirty="0">
              <a:solidFill>
                <a:srgbClr val="000000"/>
              </a:solidFill>
              <a:latin typeface="Futura Std"/>
            </a:endParaRP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5492"/>
                </a:solidFill>
                <a:latin typeface="Futura Std"/>
              </a:rPr>
              <a:t>Write an absent-minded program for an everyday task and describe how it goes wrong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005492"/>
                </a:solidFill>
                <a:latin typeface="Futura Std"/>
              </a:rPr>
              <a:t>Write a well-thought-out program and describe how it fixes the problems of the absent-minded one</a:t>
            </a:r>
          </a:p>
        </p:txBody>
      </p:sp>
    </p:spTree>
    <p:extLst>
      <p:ext uri="{BB962C8B-B14F-4D97-AF65-F5344CB8AC3E}">
        <p14:creationId xmlns:p14="http://schemas.microsoft.com/office/powerpoint/2010/main" val="305689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75284BE8-9AEE-4D5B-95CE-CF0A7A4C06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4980" y="1234154"/>
            <a:ext cx="1981200" cy="257170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C36FEF3-8FB4-4E9E-AE9A-D4558AB5F7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PLORING BASIC PROGRAMM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6C1C38-A246-4BD8-9E9B-6A4ACF7073B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4800" y="918681"/>
            <a:ext cx="4419600" cy="36576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b="0" dirty="0"/>
              <a:t>Students write programs to systematize everyday activities </a:t>
            </a:r>
          </a:p>
          <a:p>
            <a:pPr>
              <a:spcAft>
                <a:spcPts val="600"/>
              </a:spcAft>
            </a:pPr>
            <a:endParaRPr lang="en-US" b="0" dirty="0"/>
          </a:p>
          <a:p>
            <a:pPr>
              <a:spcAft>
                <a:spcPts val="600"/>
              </a:spcAft>
            </a:pPr>
            <a:r>
              <a:rPr lang="en-US" b="0" dirty="0"/>
              <a:t>Tasks increase in complexity with each activity to introduce fundamental concepts, including: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Loop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Conditional Statement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Variable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Parallelization 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Error handling</a:t>
            </a:r>
          </a:p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406E825-F445-42EE-9EB2-BE4D4579FF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4400" y="808426"/>
            <a:ext cx="2072789" cy="267772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448E803-DC6B-4F46-8625-605AC5E611A9}"/>
              </a:ext>
            </a:extLst>
          </p:cNvPr>
          <p:cNvSpPr/>
          <p:nvPr/>
        </p:nvSpPr>
        <p:spPr>
          <a:xfrm>
            <a:off x="6248400" y="3562350"/>
            <a:ext cx="228600" cy="228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26C6623-D307-44DC-A7A6-A1759FEF92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34000" y="2114550"/>
            <a:ext cx="1981200" cy="255638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3536057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97AB4-0DD1-4149-8D09-1FDE19C95A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ONAL TECH EXTEN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437674-A025-44DC-A37F-BA104BA8149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11143" y="971550"/>
            <a:ext cx="8521713" cy="3657600"/>
          </a:xfrm>
        </p:spPr>
        <p:txBody>
          <a:bodyPr/>
          <a:lstStyle/>
          <a:p>
            <a:r>
              <a:rPr lang="en-US" b="0" dirty="0"/>
              <a:t>Activities include optional tech extensions and supporting videos for students to apply their knowled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113BAA0-6320-4EBE-B4DE-BF73B1A86B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1629" y="2182065"/>
            <a:ext cx="3317571" cy="183748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29DCBB2-AE87-40B4-BC8F-596154127D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8621" y="2167086"/>
            <a:ext cx="2591338" cy="185246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E62688-A58A-43CC-A8A0-72D470EAF4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144" y="2020018"/>
            <a:ext cx="2222054" cy="1935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6647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5924C2-8858-4666-9E19-83BA8B2394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PRESENT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074254-45F4-4223-88EB-A6796E26253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24698" y="971550"/>
            <a:ext cx="4199047" cy="36576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b="0" dirty="0"/>
              <a:t>Teams first present absent-minded program</a:t>
            </a:r>
          </a:p>
          <a:p>
            <a:pPr marL="460375" lvl="2" indent="-285750">
              <a:spcAft>
                <a:spcPts val="600"/>
              </a:spcAft>
            </a:pPr>
            <a:r>
              <a:rPr lang="en-US" sz="1600" b="0" dirty="0"/>
              <a:t>Explain how program can go wrong</a:t>
            </a:r>
            <a:endParaRPr lang="en-US" sz="1600" dirty="0"/>
          </a:p>
          <a:p>
            <a:pPr>
              <a:spcAft>
                <a:spcPts val="600"/>
              </a:spcAft>
            </a:pPr>
            <a:endParaRPr lang="en-US" b="0" dirty="0"/>
          </a:p>
          <a:p>
            <a:pPr>
              <a:spcAft>
                <a:spcPts val="600"/>
              </a:spcAft>
            </a:pPr>
            <a:r>
              <a:rPr lang="en-US" b="0" dirty="0"/>
              <a:t>Teams then present companion program</a:t>
            </a:r>
          </a:p>
          <a:p>
            <a:pPr marL="460375" lvl="2" indent="-285750">
              <a:spcAft>
                <a:spcPts val="600"/>
              </a:spcAft>
            </a:pPr>
            <a:r>
              <a:rPr lang="en-US" sz="1600" b="0" dirty="0"/>
              <a:t>Explain how program </a:t>
            </a:r>
            <a:r>
              <a:rPr lang="en-US" sz="1600" dirty="0"/>
              <a:t>completes task correctly and efficiently</a:t>
            </a:r>
          </a:p>
          <a:p>
            <a:pPr marL="460375" lvl="2" indent="-285750">
              <a:spcAft>
                <a:spcPts val="600"/>
              </a:spcAft>
            </a:pPr>
            <a:r>
              <a:rPr lang="en-US" sz="1600" b="0" dirty="0"/>
              <a:t>Include explanation of programming techniques used</a:t>
            </a:r>
          </a:p>
          <a:p>
            <a:pPr lvl="2" indent="0">
              <a:buNone/>
            </a:pPr>
            <a:endParaRPr lang="en-US" dirty="0"/>
          </a:p>
          <a:p>
            <a:endParaRPr lang="en-US" b="0" dirty="0"/>
          </a:p>
          <a:p>
            <a:endParaRPr lang="en-US" b="0" dirty="0"/>
          </a:p>
          <a:p>
            <a:endParaRPr lang="en-US" b="0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A3108164-BEFB-4544-BD33-6BCF71E0174D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4720256" y="911224"/>
            <a:ext cx="2192173" cy="28352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FEBF443-CF86-4030-B0EB-FC5C21F272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6576" y="1733550"/>
            <a:ext cx="2173397" cy="283527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4147017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9514844F-27DB-4D23-9186-0C9224C47F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YBERSECURITY: Keeping Our Networks Secure</a:t>
            </a:r>
          </a:p>
        </p:txBody>
      </p:sp>
    </p:spTree>
    <p:extLst>
      <p:ext uri="{BB962C8B-B14F-4D97-AF65-F5344CB8AC3E}">
        <p14:creationId xmlns:p14="http://schemas.microsoft.com/office/powerpoint/2010/main" val="15276824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7F1F7-22A8-476A-837A-A22E94E67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NTRODUCING THE CHALLENG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AEA0E98-DF32-4AE7-B359-B09F522CA3A5}"/>
              </a:ext>
            </a:extLst>
          </p:cNvPr>
          <p:cNvGrpSpPr/>
          <p:nvPr/>
        </p:nvGrpSpPr>
        <p:grpSpPr>
          <a:xfrm>
            <a:off x="1482811" y="1369961"/>
            <a:ext cx="6177560" cy="3128963"/>
            <a:chOff x="1977081" y="1690688"/>
            <a:chExt cx="8236747" cy="417195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485D898-EC1A-40B7-8526-AE828D586BD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77081" y="1690688"/>
              <a:ext cx="2834688" cy="3429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BE06B00-C295-4911-8D55-9816B8BC7E6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48736" y="1995488"/>
              <a:ext cx="2743907" cy="3429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C21F495-BDDB-4BB3-99A4-7DF3CB167E8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690417" y="2224088"/>
              <a:ext cx="2757340" cy="3429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E7971D8-8E47-43B3-B445-37D8B121D7D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430204" y="2433638"/>
              <a:ext cx="2783624" cy="3429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0EE35E9-B4E2-45B9-9C19-B537AA4C54E4}"/>
                </a:ext>
              </a:extLst>
            </p:cNvPr>
            <p:cNvSpPr txBox="1"/>
            <p:nvPr/>
          </p:nvSpPr>
          <p:spPr>
            <a:xfrm>
              <a:off x="2054326" y="3748088"/>
              <a:ext cx="8075107" cy="1277273"/>
            </a:xfrm>
            <a:prstGeom prst="rect">
              <a:avLst/>
            </a:prstGeom>
            <a:solidFill>
              <a:schemeClr val="bg1"/>
            </a:solidFill>
            <a:ln w="19050" cmpd="thinThick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marL="214313" indent="-214313">
                <a:buFont typeface="Wingdings" panose="05000000000000000000" pitchFamily="2" charset="2"/>
                <a:buChar char="q"/>
              </a:pPr>
              <a:r>
                <a:rPr lang="en-US" sz="1125" b="1" dirty="0">
                  <a:solidFill>
                    <a:srgbClr val="005195"/>
                  </a:solidFill>
                </a:rPr>
                <a:t>How information flows through the internet</a:t>
              </a:r>
            </a:p>
            <a:p>
              <a:pPr marL="214313" indent="-214313">
                <a:buFont typeface="Wingdings" panose="05000000000000000000" pitchFamily="2" charset="2"/>
                <a:buChar char="q"/>
              </a:pPr>
              <a:r>
                <a:rPr lang="en-US" sz="1125" b="1" dirty="0">
                  <a:solidFill>
                    <a:srgbClr val="005195"/>
                  </a:solidFill>
                </a:rPr>
                <a:t>How the internet keeps information flowing in case of failure</a:t>
              </a:r>
            </a:p>
            <a:p>
              <a:pPr marL="214313" indent="-214313">
                <a:buFont typeface="Wingdings" panose="05000000000000000000" pitchFamily="2" charset="2"/>
                <a:buChar char="q"/>
              </a:pPr>
              <a:r>
                <a:rPr lang="en-US" sz="1125" b="1" dirty="0">
                  <a:solidFill>
                    <a:srgbClr val="005195"/>
                  </a:solidFill>
                </a:rPr>
                <a:t>How information is kept secure—both where it is stored and while it is being transmitted</a:t>
              </a:r>
            </a:p>
            <a:p>
              <a:pPr marL="214313" indent="-214313">
                <a:buFont typeface="Wingdings" panose="05000000000000000000" pitchFamily="2" charset="2"/>
                <a:buChar char="q"/>
              </a:pPr>
              <a:r>
                <a:rPr lang="en-US" sz="1125" b="1" dirty="0">
                  <a:solidFill>
                    <a:srgbClr val="005195"/>
                  </a:solidFill>
                </a:rPr>
                <a:t>How systems know what information and data can be trus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506881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1A3599-0526-4341-AB4E-FFE5A84DC1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/>
              <a:t>TCP (Transmission Control Protocol) and IP (Internet Protocol) </a:t>
            </a:r>
          </a:p>
          <a:p>
            <a:r>
              <a:rPr lang="en-US" sz="1600" b="0" dirty="0"/>
              <a:t>Hands-on simulations using physical classroom models help students better understan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How messages are addressed and routed on the interne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/>
              <a:t>How the internet is able to overcome system failures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650606-D858-4D04-B680-7A886974A0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ODELING THE INTERNET</a:t>
            </a:r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9F57DBF7-B26E-464F-A0D7-91B39DA351EF}"/>
              </a:ext>
            </a:extLst>
          </p:cNvPr>
          <p:cNvSpPr/>
          <p:nvPr/>
        </p:nvSpPr>
        <p:spPr>
          <a:xfrm>
            <a:off x="4201118" y="3348372"/>
            <a:ext cx="628650" cy="342900"/>
          </a:xfrm>
          <a:prstGeom prst="rightArrow">
            <a:avLst/>
          </a:prstGeom>
          <a:solidFill>
            <a:srgbClr val="0051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FC42703-E097-4404-B9E8-01267FAED2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1309" y="2431974"/>
            <a:ext cx="2842113" cy="20574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D1269E6-9B31-4987-A0AF-EE8EA6EF12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7393" y="2431974"/>
            <a:ext cx="2905298" cy="20574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BAAEEB3-0388-4D83-B934-1749924E9B00}"/>
              </a:ext>
            </a:extLst>
          </p:cNvPr>
          <p:cNvSpPr/>
          <p:nvPr/>
        </p:nvSpPr>
        <p:spPr>
          <a:xfrm>
            <a:off x="1856722" y="4488815"/>
            <a:ext cx="169190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dirty="0">
                <a:hlinkClick r:id="rId5"/>
              </a:rPr>
              <a:t>1 Sender, 1 Recipient </a:t>
            </a:r>
            <a:endParaRPr lang="en-US" sz="105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EBDBE5-A9C2-487A-852C-33DAA7EB13FD}"/>
              </a:ext>
            </a:extLst>
          </p:cNvPr>
          <p:cNvSpPr/>
          <p:nvPr/>
        </p:nvSpPr>
        <p:spPr>
          <a:xfrm>
            <a:off x="4104041" y="4488815"/>
            <a:ext cx="4572000" cy="25391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050" dirty="0">
                <a:hlinkClick r:id="rId6"/>
              </a:rPr>
              <a:t>2 Senders, 2 Recipients, Bad Nodes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34943832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AFA723-AE92-40F2-B239-A753DA30E2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0" dirty="0"/>
              <a:t>Ancient cultures secured messages using cryptography, the art of writing then deciphering codes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87B489-1313-4995-BBC4-89843FD7FC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DECIPHERING MESSAG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8A08CB9-FFD3-406D-A387-7F666F91519D}"/>
              </a:ext>
            </a:extLst>
          </p:cNvPr>
          <p:cNvGrpSpPr>
            <a:grpSpLocks noChangeAspect="1"/>
          </p:cNvGrpSpPr>
          <p:nvPr/>
        </p:nvGrpSpPr>
        <p:grpSpPr>
          <a:xfrm>
            <a:off x="1181520" y="1899625"/>
            <a:ext cx="3086100" cy="2057400"/>
            <a:chOff x="5181600" y="1828800"/>
            <a:chExt cx="2628900" cy="1752600"/>
          </a:xfrm>
        </p:grpSpPr>
        <p:pic>
          <p:nvPicPr>
            <p:cNvPr id="6" name="Picture 5">
              <a:hlinkClick r:id="rId3" action="ppaction://hlinkfile"/>
              <a:extLst>
                <a:ext uri="{FF2B5EF4-FFF2-40B4-BE49-F238E27FC236}">
                  <a16:creationId xmlns:a16="http://schemas.microsoft.com/office/drawing/2014/main" id="{E7E920C2-0862-44AD-ACE9-EFE823415B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181600" y="1828800"/>
              <a:ext cx="2628900" cy="175260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87BBFC4-8712-40DC-9BAC-E954D8FE5247}"/>
                </a:ext>
              </a:extLst>
            </p:cNvPr>
            <p:cNvSpPr/>
            <p:nvPr/>
          </p:nvSpPr>
          <p:spPr>
            <a:xfrm>
              <a:off x="5181600" y="1829158"/>
              <a:ext cx="1799998" cy="2200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D9BD6B1-B14E-4FFB-B8EB-974C1EF8BEB3}"/>
                </a:ext>
              </a:extLst>
            </p:cNvPr>
            <p:cNvSpPr/>
            <p:nvPr/>
          </p:nvSpPr>
          <p:spPr>
            <a:xfrm>
              <a:off x="7245269" y="3004457"/>
              <a:ext cx="565231" cy="4572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E0057793-B2BA-4C87-BD9D-086CEB2152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96356" y="1821589"/>
            <a:ext cx="2113041" cy="2135436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830EBEC-D1F8-4169-92CF-6C8EABC6E99E}"/>
              </a:ext>
            </a:extLst>
          </p:cNvPr>
          <p:cNvSpPr/>
          <p:nvPr/>
        </p:nvSpPr>
        <p:spPr>
          <a:xfrm>
            <a:off x="1610145" y="3964891"/>
            <a:ext cx="2228850" cy="484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>
                <a:latin typeface="Arial" panose="020B0604020202020204" pitchFamily="34" charset="0"/>
                <a:cs typeface="Arial" panose="020B0604020202020204" pitchFamily="34" charset="0"/>
              </a:rPr>
              <a:t>Scytale </a:t>
            </a:r>
          </a:p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(Transposition Cipher)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E478EC-48A2-4FD8-B7DA-630A5511109A}"/>
              </a:ext>
            </a:extLst>
          </p:cNvPr>
          <p:cNvSpPr/>
          <p:nvPr/>
        </p:nvSpPr>
        <p:spPr>
          <a:xfrm>
            <a:off x="5066319" y="3992002"/>
            <a:ext cx="2650331" cy="484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50" b="1" dirty="0">
                <a:latin typeface="Arial" panose="020B0604020202020204" pitchFamily="34" charset="0"/>
                <a:cs typeface="Arial" panose="020B0604020202020204" pitchFamily="34" charset="0"/>
              </a:rPr>
              <a:t>Cipher Wheel </a:t>
            </a:r>
          </a:p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(Substitution Cipher) </a:t>
            </a:r>
          </a:p>
        </p:txBody>
      </p:sp>
    </p:spTree>
    <p:extLst>
      <p:ext uri="{BB962C8B-B14F-4D97-AF65-F5344CB8AC3E}">
        <p14:creationId xmlns:p14="http://schemas.microsoft.com/office/powerpoint/2010/main" val="14754077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F9C861-179A-426D-B65C-09E707F7F6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ENT MARKETING PRESENTA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C00A450-2E00-448E-9662-A1384C936B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91200" y="971550"/>
            <a:ext cx="2743200" cy="345400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923B0AA-592D-4266-B44B-16F490B6D757}"/>
              </a:ext>
            </a:extLst>
          </p:cNvPr>
          <p:cNvSpPr txBox="1">
            <a:spLocks/>
          </p:cNvSpPr>
          <p:nvPr/>
        </p:nvSpPr>
        <p:spPr>
          <a:xfrm>
            <a:off x="304800" y="1082901"/>
            <a:ext cx="4969468" cy="297769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/>
              <a:t>Students develop marketing plans for Jupiter Motors to:</a:t>
            </a:r>
            <a:endParaRPr lang="en-US" sz="2200" b="1" dirty="0"/>
          </a:p>
          <a:p>
            <a:pPr lvl="1"/>
            <a:r>
              <a:rPr lang="en-US" sz="1800" dirty="0"/>
              <a:t>Demonstrate learning gained from simulations </a:t>
            </a:r>
          </a:p>
          <a:p>
            <a:pPr lvl="1"/>
            <a:r>
              <a:rPr lang="en-US" sz="1800" dirty="0"/>
              <a:t>Address buyers’ fears about internet security</a:t>
            </a:r>
          </a:p>
          <a:p>
            <a:pPr lvl="1"/>
            <a:r>
              <a:rPr lang="en-US" sz="1800" dirty="0"/>
              <a:t>Plan presentations and understand scoring based on included rubric</a:t>
            </a:r>
          </a:p>
        </p:txBody>
      </p:sp>
    </p:spTree>
    <p:extLst>
      <p:ext uri="{BB962C8B-B14F-4D97-AF65-F5344CB8AC3E}">
        <p14:creationId xmlns:p14="http://schemas.microsoft.com/office/powerpoint/2010/main" val="33749397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640243C-2ECA-405A-8ACF-EA94E2EB83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3400" y="666750"/>
            <a:ext cx="8153400" cy="3429000"/>
          </a:xfrm>
        </p:spPr>
        <p:txBody>
          <a:bodyPr/>
          <a:lstStyle/>
          <a:p>
            <a:r>
              <a:rPr lang="en-US" sz="3600" dirty="0"/>
              <a:t>Crack the code Competition!</a:t>
            </a:r>
          </a:p>
        </p:txBody>
      </p:sp>
    </p:spTree>
    <p:extLst>
      <p:ext uri="{BB962C8B-B14F-4D97-AF65-F5344CB8AC3E}">
        <p14:creationId xmlns:p14="http://schemas.microsoft.com/office/powerpoint/2010/main" val="21427323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1AF0A6F-DB7E-4C0D-8438-F926C5339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WE AR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E9A651E-7FDF-4F36-B3ED-30502C955C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037" b="8518"/>
          <a:stretch/>
        </p:blipFill>
        <p:spPr>
          <a:xfrm>
            <a:off x="2286000" y="819150"/>
            <a:ext cx="4478458" cy="3894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0508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457CFE7-EDC0-4645-84E7-3368A90E59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For more information visit sae.org/learn/education </a:t>
            </a:r>
          </a:p>
          <a:p>
            <a:endParaRPr lang="en-US" dirty="0"/>
          </a:p>
          <a:p>
            <a:r>
              <a:rPr lang="en-US" dirty="0"/>
              <a:t>Or contact awim@sae.org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E435F7-79CD-420E-B076-DECF7BB9C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A2E38E-3676-4AC9-AE40-117CF2D4B3AC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8889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screenshot&#10;&#10;Description automatically generated">
            <a:extLst>
              <a:ext uri="{FF2B5EF4-FFF2-40B4-BE49-F238E27FC236}">
                <a16:creationId xmlns:a16="http://schemas.microsoft.com/office/drawing/2014/main" id="{E62F60C1-1718-4BF8-B05D-DC1EBAAF2E8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04" b="7286"/>
          <a:stretch/>
        </p:blipFill>
        <p:spPr>
          <a:xfrm>
            <a:off x="1524000" y="895350"/>
            <a:ext cx="5867400" cy="3784983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91AF0A6F-DB7E-4C0D-8438-F926C5339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DO</a:t>
            </a:r>
          </a:p>
        </p:txBody>
      </p:sp>
    </p:spTree>
    <p:extLst>
      <p:ext uri="{BB962C8B-B14F-4D97-AF65-F5344CB8AC3E}">
        <p14:creationId xmlns:p14="http://schemas.microsoft.com/office/powerpoint/2010/main" val="20648451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1AF0A6F-DB7E-4C0D-8438-F926C5339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IM AT A GLANCE</a:t>
            </a:r>
          </a:p>
        </p:txBody>
      </p:sp>
      <p:graphicFrame>
        <p:nvGraphicFramePr>
          <p:cNvPr id="6" name="Content Placeholder 6">
            <a:extLst>
              <a:ext uri="{FF2B5EF4-FFF2-40B4-BE49-F238E27FC236}">
                <a16:creationId xmlns:a16="http://schemas.microsoft.com/office/drawing/2014/main" id="{E2F83B22-9B68-4B90-9BB4-9F1A251745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1520836"/>
              </p:ext>
            </p:extLst>
          </p:nvPr>
        </p:nvGraphicFramePr>
        <p:xfrm>
          <a:off x="609600" y="640080"/>
          <a:ext cx="7315200" cy="39576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049206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1AF0A6F-DB7E-4C0D-8438-F926C5339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IM IN ACTION</a:t>
            </a:r>
          </a:p>
        </p:txBody>
      </p:sp>
      <p:pic>
        <p:nvPicPr>
          <p:cNvPr id="7" name="Online Media 6" title="SAE Foundation and A World In Motion">
            <a:hlinkClick r:id="" action="ppaction://media"/>
            <a:extLst>
              <a:ext uri="{FF2B5EF4-FFF2-40B4-BE49-F238E27FC236}">
                <a16:creationId xmlns:a16="http://schemas.microsoft.com/office/drawing/2014/main" id="{8B99DCF4-FCA8-4C48-A312-E5827DD9DF05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600200" y="1185862"/>
            <a:ext cx="5715000" cy="3214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581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857250" y="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1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250" y="0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8BE5F03A-F9F8-4317-BFC5-C1F9FC37F03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89284" y="837949"/>
          <a:ext cx="8067460" cy="36517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86370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CORE COMPETENCI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B20786F-F94F-4A7A-99D0-4822CBD580C6}"/>
              </a:ext>
            </a:extLst>
          </p:cNvPr>
          <p:cNvSpPr txBox="1"/>
          <p:nvPr/>
        </p:nvSpPr>
        <p:spPr>
          <a:xfrm>
            <a:off x="3457360" y="2663824"/>
            <a:ext cx="20574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005195"/>
                </a:solidFill>
              </a:rPr>
              <a:t>A World In Motion</a:t>
            </a:r>
          </a:p>
        </p:txBody>
      </p:sp>
    </p:spTree>
    <p:extLst>
      <p:ext uri="{BB962C8B-B14F-4D97-AF65-F5344CB8AC3E}">
        <p14:creationId xmlns:p14="http://schemas.microsoft.com/office/powerpoint/2010/main" val="11026042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C5574E-866E-4462-8B4F-C342C7F0E4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en-US" b="0" dirty="0"/>
              <a:t>Computing Occupations:</a:t>
            </a:r>
          </a:p>
          <a:p>
            <a:pPr marL="460375" lvl="2" indent="-285750">
              <a:spcAft>
                <a:spcPts val="1200"/>
              </a:spcAft>
            </a:pPr>
            <a:r>
              <a:rPr lang="en-US" b="0" dirty="0"/>
              <a:t>58% of all projected new jobs in STEM fields</a:t>
            </a:r>
          </a:p>
          <a:p>
            <a:pPr marL="460375" lvl="2" indent="-285750">
              <a:spcAft>
                <a:spcPts val="1200"/>
              </a:spcAft>
            </a:pPr>
            <a:r>
              <a:rPr lang="en-US" b="0" dirty="0"/>
              <a:t>#1 source of new wages in the United States</a:t>
            </a:r>
          </a:p>
          <a:p>
            <a:pPr marL="460375" lvl="2" indent="-285750">
              <a:spcAft>
                <a:spcPts val="1200"/>
              </a:spcAft>
            </a:pPr>
            <a:r>
              <a:rPr lang="en-US" b="0" dirty="0"/>
              <a:t>one of the highest-paid bachelor degre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/>
          </a:p>
          <a:p>
            <a:r>
              <a:rPr lang="en-US" b="0" dirty="0"/>
              <a:t>…yet not many schools teach computer science</a:t>
            </a:r>
          </a:p>
          <a:p>
            <a:endParaRPr lang="en-US" b="0" dirty="0"/>
          </a:p>
          <a:p>
            <a:endParaRPr lang="en-US" b="0" dirty="0"/>
          </a:p>
          <a:p>
            <a:pPr algn="r"/>
            <a:r>
              <a:rPr lang="en-US" sz="800" b="0" dirty="0"/>
              <a:t> </a:t>
            </a:r>
          </a:p>
          <a:p>
            <a:pPr algn="r"/>
            <a:endParaRPr lang="en-US" sz="800" b="0" dirty="0">
              <a:hlinkClick r:id="rId3"/>
            </a:endParaRPr>
          </a:p>
          <a:p>
            <a:pPr algn="r"/>
            <a:endParaRPr lang="en-US" sz="800" b="0" dirty="0">
              <a:hlinkClick r:id="rId3"/>
            </a:endParaRPr>
          </a:p>
          <a:p>
            <a:pPr algn="r"/>
            <a:r>
              <a:rPr lang="en-US" sz="800" dirty="0">
                <a:hlinkClick r:id="rId3"/>
              </a:rPr>
              <a:t>Sources</a:t>
            </a:r>
            <a:endParaRPr lang="en-US" sz="800" b="0" dirty="0"/>
          </a:p>
          <a:p>
            <a:endParaRPr lang="en-US" b="0" dirty="0"/>
          </a:p>
          <a:p>
            <a:endParaRPr lang="en-US" b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BF8571-8C84-44F1-A651-6D688AC1F7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IT EDUCATION?</a:t>
            </a:r>
          </a:p>
        </p:txBody>
      </p:sp>
    </p:spTree>
    <p:extLst>
      <p:ext uri="{BB962C8B-B14F-4D97-AF65-F5344CB8AC3E}">
        <p14:creationId xmlns:p14="http://schemas.microsoft.com/office/powerpoint/2010/main" val="12090540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3C61A7-3CBE-4CF3-8ADC-2F9D025B11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95350"/>
            <a:ext cx="8229600" cy="3657600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Fun, hands-on activities designed to build strong IT found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“Unplugged” explorations enable students to comprehend and apply computational thinking free of resource limitations</a:t>
            </a:r>
          </a:p>
          <a:p>
            <a:endParaRPr lang="en-US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/>
              <a:t>Collaborative lesson structure promotes teamwork, creative problem-solving, and critical thinking</a:t>
            </a:r>
          </a:p>
          <a:p>
            <a:endParaRPr lang="en-US" b="0" dirty="0"/>
          </a:p>
          <a:p>
            <a:endParaRPr lang="en-US" b="0" dirty="0"/>
          </a:p>
          <a:p>
            <a:endParaRPr lang="en-US" b="0" dirty="0"/>
          </a:p>
          <a:p>
            <a:endParaRPr lang="en-US" b="0" dirty="0"/>
          </a:p>
          <a:p>
            <a:endParaRPr lang="en-US" b="0" dirty="0"/>
          </a:p>
          <a:p>
            <a:endParaRPr lang="en-US" b="0" dirty="0"/>
          </a:p>
          <a:p>
            <a:endParaRPr lang="en-US" b="0" dirty="0"/>
          </a:p>
          <a:p>
            <a:endParaRPr lang="en-US" b="0" dirty="0"/>
          </a:p>
          <a:p>
            <a:endParaRPr lang="en-US" dirty="0"/>
          </a:p>
          <a:p>
            <a:endParaRPr lang="en-US" sz="900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4A5632-E134-4F43-8C6E-96E65B1B0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WIM IT SOLUTION</a:t>
            </a:r>
          </a:p>
        </p:txBody>
      </p:sp>
    </p:spTree>
    <p:extLst>
      <p:ext uri="{BB962C8B-B14F-4D97-AF65-F5344CB8AC3E}">
        <p14:creationId xmlns:p14="http://schemas.microsoft.com/office/powerpoint/2010/main" val="3023991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9514844F-27DB-4D23-9186-0C9224C47F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PROGRAMMING EACH OTH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75615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d3iTzsIkSf.3lBP2JL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2EdfzIv0S1CzvT2XPzbA"/>
</p:tagLst>
</file>

<file path=ppt/theme/theme1.xml><?xml version="1.0" encoding="utf-8"?>
<a:theme xmlns:a="http://schemas.openxmlformats.org/drawingml/2006/main" name="sae_16X9 preferred">
  <a:themeElements>
    <a:clrScheme name="SAE_ppt_130415">
      <a:dk1>
        <a:sysClr val="windowText" lastClr="000000"/>
      </a:dk1>
      <a:lt1>
        <a:sysClr val="window" lastClr="FFFFFF"/>
      </a:lt1>
      <a:dk2>
        <a:srgbClr val="616265"/>
      </a:dk2>
      <a:lt2>
        <a:srgbClr val="CACAC8"/>
      </a:lt2>
      <a:accent1>
        <a:srgbClr val="01A0E9"/>
      </a:accent1>
      <a:accent2>
        <a:srgbClr val="005195"/>
      </a:accent2>
      <a:accent3>
        <a:srgbClr val="2EB135"/>
      </a:accent3>
      <a:accent4>
        <a:srgbClr val="FFB201"/>
      </a:accent4>
      <a:accent5>
        <a:srgbClr val="EA7125"/>
      </a:accent5>
      <a:accent6>
        <a:srgbClr val="DC291E"/>
      </a:accent6>
      <a:hlink>
        <a:srgbClr val="005195"/>
      </a:hlink>
      <a:folHlink>
        <a:srgbClr val="01A0E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eme3">
  <a:themeElements>
    <a:clrScheme name="SAE_ppt_130415">
      <a:dk1>
        <a:sysClr val="windowText" lastClr="000000"/>
      </a:dk1>
      <a:lt1>
        <a:sysClr val="window" lastClr="FFFFFF"/>
      </a:lt1>
      <a:dk2>
        <a:srgbClr val="616265"/>
      </a:dk2>
      <a:lt2>
        <a:srgbClr val="CACAC8"/>
      </a:lt2>
      <a:accent1>
        <a:srgbClr val="01A0E9"/>
      </a:accent1>
      <a:accent2>
        <a:srgbClr val="005195"/>
      </a:accent2>
      <a:accent3>
        <a:srgbClr val="2EB135"/>
      </a:accent3>
      <a:accent4>
        <a:srgbClr val="FFB201"/>
      </a:accent4>
      <a:accent5>
        <a:srgbClr val="EA7125"/>
      </a:accent5>
      <a:accent6>
        <a:srgbClr val="DC291E"/>
      </a:accent6>
      <a:hlink>
        <a:srgbClr val="005195"/>
      </a:hlink>
      <a:folHlink>
        <a:srgbClr val="01A0E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03A96E3A012C54383C44B715AEC5F39" ma:contentTypeVersion="12" ma:contentTypeDescription="Create a new document." ma:contentTypeScope="" ma:versionID="ebabe1392417f828642ea1c10d8a756b">
  <xsd:schema xmlns:xsd="http://www.w3.org/2001/XMLSchema" xmlns:xs="http://www.w3.org/2001/XMLSchema" xmlns:p="http://schemas.microsoft.com/office/2006/metadata/properties" xmlns:ns2="1d8ae635-1d3b-456e-b659-39af2f4d1ee1" xmlns:ns3="200f6399-26bd-4eae-a7f0-114519101dfb" targetNamespace="http://schemas.microsoft.com/office/2006/metadata/properties" ma:root="true" ma:fieldsID="7b9a3fceca4e471f0f34fb990cccfae4" ns2:_="" ns3:_="">
    <xsd:import namespace="1d8ae635-1d3b-456e-b659-39af2f4d1ee1"/>
    <xsd:import namespace="200f6399-26bd-4eae-a7f0-114519101df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8ae635-1d3b-456e-b659-39af2f4d1e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0f6399-26bd-4eae-a7f0-114519101dfb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C938410-598E-462E-8478-D6F8E72013C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836944D-B434-4C8C-B44A-0DFDA101C049}">
  <ds:schemaRefs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terms/"/>
    <ds:schemaRef ds:uri="200f6399-26bd-4eae-a7f0-114519101dfb"/>
    <ds:schemaRef ds:uri="http://schemas.openxmlformats.org/package/2006/metadata/core-properties"/>
    <ds:schemaRef ds:uri="1d8ae635-1d3b-456e-b659-39af2f4d1ee1"/>
  </ds:schemaRefs>
</ds:datastoreItem>
</file>

<file path=customXml/itemProps3.xml><?xml version="1.0" encoding="utf-8"?>
<ds:datastoreItem xmlns:ds="http://schemas.openxmlformats.org/officeDocument/2006/customXml" ds:itemID="{A76AE388-40EF-499A-B0CC-812480EF5C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d8ae635-1d3b-456e-b659-39af2f4d1ee1"/>
    <ds:schemaRef ds:uri="200f6399-26bd-4eae-a7f0-114519101df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ae_16X9 preferred.potx</Template>
  <TotalTime>1914</TotalTime>
  <Words>774</Words>
  <Application>Microsoft Office PowerPoint</Application>
  <PresentationFormat>On-screen Show (16:9)</PresentationFormat>
  <Paragraphs>140</Paragraphs>
  <Slides>20</Slides>
  <Notes>6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rial</vt:lpstr>
      <vt:lpstr>Calibri</vt:lpstr>
      <vt:lpstr>Futura Std</vt:lpstr>
      <vt:lpstr>Wingdings</vt:lpstr>
      <vt:lpstr>sae_16X9 preferred</vt:lpstr>
      <vt:lpstr>Theme3</vt:lpstr>
      <vt:lpstr>think-cell Slide</vt:lpstr>
      <vt:lpstr>A World In motion® </vt:lpstr>
      <vt:lpstr>WHO WE ARE</vt:lpstr>
      <vt:lpstr>WHAT WE DO</vt:lpstr>
      <vt:lpstr>AWIM AT A GLANCE</vt:lpstr>
      <vt:lpstr>AWIM IN ACTION</vt:lpstr>
      <vt:lpstr>CORE COMPETENCIES</vt:lpstr>
      <vt:lpstr>WHY IT EDUCATION?</vt:lpstr>
      <vt:lpstr>AWIM IT SOLUTION</vt:lpstr>
      <vt:lpstr>PowerPoint Presentation</vt:lpstr>
      <vt:lpstr>INTRODUCING THE CHALLENGE</vt:lpstr>
      <vt:lpstr>EXPLORING BASIC PROGRAMMING</vt:lpstr>
      <vt:lpstr>OPTIONAL TECH EXTENSIONS</vt:lpstr>
      <vt:lpstr>STUDENT PRESENTATIONS</vt:lpstr>
      <vt:lpstr>PowerPoint Presentation</vt:lpstr>
      <vt:lpstr>INTRODUCING THE CHALLENGE</vt:lpstr>
      <vt:lpstr>MODELING THE INTERNET</vt:lpstr>
      <vt:lpstr>DECIPHERING MESSAGES</vt:lpstr>
      <vt:lpstr>STUDENT MARKETING PRESENTATION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in SAE Blue,  Arial Bold 21pt on one or two lines</dc:title>
  <dc:creator>Tom</dc:creator>
  <cp:lastModifiedBy>Andrea Evancho</cp:lastModifiedBy>
  <cp:revision>211</cp:revision>
  <dcterms:created xsi:type="dcterms:W3CDTF">2013-05-16T21:51:37Z</dcterms:created>
  <dcterms:modified xsi:type="dcterms:W3CDTF">2019-12-04T19:5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3A96E3A012C54383C44B715AEC5F39</vt:lpwstr>
  </property>
</Properties>
</file>